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omments/modernComment_7FFFCC8D_BC75EA8E.xml" ContentType="application/vnd.ms-powerpoint.comment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4"/>
    <p:sldMasterId id="2147483648" r:id="rId5"/>
    <p:sldMasterId id="2147483690" r:id="rId6"/>
  </p:sldMasterIdLst>
  <p:notesMasterIdLst>
    <p:notesMasterId r:id="rId40"/>
  </p:notesMasterIdLst>
  <p:sldIdLst>
    <p:sldId id="257" r:id="rId7"/>
    <p:sldId id="258" r:id="rId8"/>
    <p:sldId id="267" r:id="rId9"/>
    <p:sldId id="2147470334" r:id="rId10"/>
    <p:sldId id="269" r:id="rId11"/>
    <p:sldId id="259" r:id="rId12"/>
    <p:sldId id="2147470476" r:id="rId13"/>
    <p:sldId id="2147470474" r:id="rId14"/>
    <p:sldId id="270" r:id="rId15"/>
    <p:sldId id="2147470475" r:id="rId16"/>
    <p:sldId id="2147470482" r:id="rId17"/>
    <p:sldId id="2147470484" r:id="rId18"/>
    <p:sldId id="2147470483" r:id="rId19"/>
    <p:sldId id="2147470481" r:id="rId20"/>
    <p:sldId id="2147470480" r:id="rId21"/>
    <p:sldId id="2147470479" r:id="rId22"/>
    <p:sldId id="2147470478" r:id="rId23"/>
    <p:sldId id="2147470477" r:id="rId24"/>
    <p:sldId id="274" r:id="rId25"/>
    <p:sldId id="2147470485" r:id="rId26"/>
    <p:sldId id="2147470488" r:id="rId27"/>
    <p:sldId id="2147470487" r:id="rId28"/>
    <p:sldId id="2147470486" r:id="rId29"/>
    <p:sldId id="272" r:id="rId30"/>
    <p:sldId id="266" r:id="rId31"/>
    <p:sldId id="271" r:id="rId32"/>
    <p:sldId id="263" r:id="rId33"/>
    <p:sldId id="264" r:id="rId34"/>
    <p:sldId id="265" r:id="rId35"/>
    <p:sldId id="273" r:id="rId36"/>
    <p:sldId id="261" r:id="rId37"/>
    <p:sldId id="260" r:id="rId38"/>
    <p:sldId id="262" r:id="rId3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012F9A7-10C5-D959-DAA8-18DABF20A4D5}" name="Baum, Kristen (STL-MOM)" initials="B(" userId="S::kristen.baum@momentumww.com::ba9efd3d-359d-4012-9c68-3c0424873fac" providerId="AD"/>
  <p188:author id="{481FB2E4-F256-572D-F355-6FB916164B7B}" name="Sanderson, Steve (LDN-MOM)" initials="SS(M" userId="S::Steve.Sanderson@momentumww.com::12c209f0-51c8-4029-96aa-e53e1a9a901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 varScale="1">
        <p:scale>
          <a:sx n="66" d="100"/>
          <a:sy n="66" d="100"/>
        </p:scale>
        <p:origin x="0" y="0"/>
      </p:cViewPr>
      <p:guideLst/>
    </p:cSldViewPr>
  </p:slide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viewProps" Target="viewProps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notesMaster" Target="notesMasters/notesMaster1.xml"/><Relationship Id="rId45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theme" Target="theme/theme1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microsoft.com/office/2018/10/relationships/authors" Target="authors.xml"/><Relationship Id="rId20" Type="http://schemas.openxmlformats.org/officeDocument/2006/relationships/slide" Target="slides/slide14.xml"/><Relationship Id="rId41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nderson, Steve (WW-MOM)" userId="12c209f0-51c8-4029-96aa-e53e1a9a9010" providerId="ADAL" clId="{2D0BD8AB-C795-4CFF-B556-B0B1141B4EF9}"/>
    <pc:docChg chg="undo custSel addSld modSld sldOrd">
      <pc:chgData name="Sanderson, Steve (WW-MOM)" userId="12c209f0-51c8-4029-96aa-e53e1a9a9010" providerId="ADAL" clId="{2D0BD8AB-C795-4CFF-B556-B0B1141B4EF9}" dt="2023-10-31T18:35:15.689" v="44" actId="20577"/>
      <pc:docMkLst>
        <pc:docMk/>
      </pc:docMkLst>
      <pc:sldChg chg="mod modShow">
        <pc:chgData name="Sanderson, Steve (WW-MOM)" userId="12c209f0-51c8-4029-96aa-e53e1a9a9010" providerId="ADAL" clId="{2D0BD8AB-C795-4CFF-B556-B0B1141B4EF9}" dt="2023-10-30T15:26:27.192" v="18" actId="729"/>
        <pc:sldMkLst>
          <pc:docMk/>
          <pc:sldMk cId="2850283132" sldId="260"/>
        </pc:sldMkLst>
      </pc:sldChg>
      <pc:sldChg chg="ord">
        <pc:chgData name="Sanderson, Steve (WW-MOM)" userId="12c209f0-51c8-4029-96aa-e53e1a9a9010" providerId="ADAL" clId="{2D0BD8AB-C795-4CFF-B556-B0B1141B4EF9}" dt="2023-10-30T15:26:09.017" v="17"/>
        <pc:sldMkLst>
          <pc:docMk/>
          <pc:sldMk cId="718821747" sldId="262"/>
        </pc:sldMkLst>
      </pc:sldChg>
      <pc:sldChg chg="mod ord modShow">
        <pc:chgData name="Sanderson, Steve (WW-MOM)" userId="12c209f0-51c8-4029-96aa-e53e1a9a9010" providerId="ADAL" clId="{2D0BD8AB-C795-4CFF-B556-B0B1141B4EF9}" dt="2023-10-31T18:34:48.295" v="23" actId="729"/>
        <pc:sldMkLst>
          <pc:docMk/>
          <pc:sldMk cId="1244007515" sldId="270"/>
        </pc:sldMkLst>
      </pc:sldChg>
      <pc:sldChg chg="add">
        <pc:chgData name="Sanderson, Steve (WW-MOM)" userId="12c209f0-51c8-4029-96aa-e53e1a9a9010" providerId="ADAL" clId="{2D0BD8AB-C795-4CFF-B556-B0B1141B4EF9}" dt="2023-10-30T15:23:06.509" v="15"/>
        <pc:sldMkLst>
          <pc:docMk/>
          <pc:sldMk cId="6061146" sldId="2147470334"/>
        </pc:sldMkLst>
      </pc:sldChg>
      <pc:sldChg chg="delSp modSp add mod">
        <pc:chgData name="Sanderson, Steve (WW-MOM)" userId="12c209f0-51c8-4029-96aa-e53e1a9a9010" providerId="ADAL" clId="{2D0BD8AB-C795-4CFF-B556-B0B1141B4EF9}" dt="2023-10-31T18:34:02.905" v="22" actId="1076"/>
        <pc:sldMkLst>
          <pc:docMk/>
          <pc:sldMk cId="2704827214" sldId="2147470474"/>
        </pc:sldMkLst>
        <pc:spChg chg="mod">
          <ac:chgData name="Sanderson, Steve (WW-MOM)" userId="12c209f0-51c8-4029-96aa-e53e1a9a9010" providerId="ADAL" clId="{2D0BD8AB-C795-4CFF-B556-B0B1141B4EF9}" dt="2023-10-30T15:22:43.817" v="13" actId="1076"/>
          <ac:spMkLst>
            <pc:docMk/>
            <pc:sldMk cId="2704827214" sldId="2147470474"/>
            <ac:spMk id="2" creationId="{0B80833E-3475-F8BE-391E-E2EE109A0B99}"/>
          </ac:spMkLst>
        </pc:spChg>
        <pc:spChg chg="del mod">
          <ac:chgData name="Sanderson, Steve (WW-MOM)" userId="12c209f0-51c8-4029-96aa-e53e1a9a9010" providerId="ADAL" clId="{2D0BD8AB-C795-4CFF-B556-B0B1141B4EF9}" dt="2023-10-30T15:22:25.844" v="6" actId="478"/>
          <ac:spMkLst>
            <pc:docMk/>
            <pc:sldMk cId="2704827214" sldId="2147470474"/>
            <ac:spMk id="5" creationId="{1E6325AD-2D38-8D82-E3E4-0F2FD6D52298}"/>
          </ac:spMkLst>
        </pc:spChg>
        <pc:spChg chg="del">
          <ac:chgData name="Sanderson, Steve (WW-MOM)" userId="12c209f0-51c8-4029-96aa-e53e1a9a9010" providerId="ADAL" clId="{2D0BD8AB-C795-4CFF-B556-B0B1141B4EF9}" dt="2023-10-30T15:22:20.062" v="2" actId="478"/>
          <ac:spMkLst>
            <pc:docMk/>
            <pc:sldMk cId="2704827214" sldId="2147470474"/>
            <ac:spMk id="6" creationId="{0AE49BD3-40DE-31FD-35BC-064EFBF65BFA}"/>
          </ac:spMkLst>
        </pc:spChg>
        <pc:spChg chg="del">
          <ac:chgData name="Sanderson, Steve (WW-MOM)" userId="12c209f0-51c8-4029-96aa-e53e1a9a9010" providerId="ADAL" clId="{2D0BD8AB-C795-4CFF-B556-B0B1141B4EF9}" dt="2023-10-30T15:22:21.120" v="3" actId="478"/>
          <ac:spMkLst>
            <pc:docMk/>
            <pc:sldMk cId="2704827214" sldId="2147470474"/>
            <ac:spMk id="8" creationId="{A7CE3CEC-D0BD-91BE-1767-43D315806C36}"/>
          </ac:spMkLst>
        </pc:spChg>
        <pc:spChg chg="del">
          <ac:chgData name="Sanderson, Steve (WW-MOM)" userId="12c209f0-51c8-4029-96aa-e53e1a9a9010" providerId="ADAL" clId="{2D0BD8AB-C795-4CFF-B556-B0B1141B4EF9}" dt="2023-10-30T15:22:19.211" v="1" actId="478"/>
          <ac:spMkLst>
            <pc:docMk/>
            <pc:sldMk cId="2704827214" sldId="2147470474"/>
            <ac:spMk id="9" creationId="{E16E0B55-A6F4-0D47-E5FD-65D71CE7A341}"/>
          </ac:spMkLst>
        </pc:spChg>
        <pc:spChg chg="mod">
          <ac:chgData name="Sanderson, Steve (WW-MOM)" userId="12c209f0-51c8-4029-96aa-e53e1a9a9010" providerId="ADAL" clId="{2D0BD8AB-C795-4CFF-B556-B0B1141B4EF9}" dt="2023-10-31T18:34:02.905" v="22" actId="1076"/>
          <ac:spMkLst>
            <pc:docMk/>
            <pc:sldMk cId="2704827214" sldId="2147470474"/>
            <ac:spMk id="11" creationId="{006B5E5F-2854-DDA1-AEA8-3BB9E581E60F}"/>
          </ac:spMkLst>
        </pc:spChg>
        <pc:spChg chg="mod">
          <ac:chgData name="Sanderson, Steve (WW-MOM)" userId="12c209f0-51c8-4029-96aa-e53e1a9a9010" providerId="ADAL" clId="{2D0BD8AB-C795-4CFF-B556-B0B1141B4EF9}" dt="2023-10-30T15:22:48.366" v="14" actId="1076"/>
          <ac:spMkLst>
            <pc:docMk/>
            <pc:sldMk cId="2704827214" sldId="2147470474"/>
            <ac:spMk id="13" creationId="{F02D2094-7225-3F39-F2A1-969432B20E75}"/>
          </ac:spMkLst>
        </pc:spChg>
        <pc:spChg chg="mod">
          <ac:chgData name="Sanderson, Steve (WW-MOM)" userId="12c209f0-51c8-4029-96aa-e53e1a9a9010" providerId="ADAL" clId="{2D0BD8AB-C795-4CFF-B556-B0B1141B4EF9}" dt="2023-10-31T18:34:02.905" v="22" actId="1076"/>
          <ac:spMkLst>
            <pc:docMk/>
            <pc:sldMk cId="2704827214" sldId="2147470474"/>
            <ac:spMk id="15" creationId="{A4C6882F-4400-3B0A-DB5D-4D6E18D98E12}"/>
          </ac:spMkLst>
        </pc:spChg>
        <pc:grpChg chg="mod">
          <ac:chgData name="Sanderson, Steve (WW-MOM)" userId="12c209f0-51c8-4029-96aa-e53e1a9a9010" providerId="ADAL" clId="{2D0BD8AB-C795-4CFF-B556-B0B1141B4EF9}" dt="2023-10-30T15:22:48.366" v="14" actId="1076"/>
          <ac:grpSpMkLst>
            <pc:docMk/>
            <pc:sldMk cId="2704827214" sldId="2147470474"/>
            <ac:grpSpMk id="12" creationId="{19572257-5474-954E-07A6-031D7C6F622C}"/>
          </ac:grpSpMkLst>
        </pc:grpChg>
        <pc:picChg chg="del">
          <ac:chgData name="Sanderson, Steve (WW-MOM)" userId="12c209f0-51c8-4029-96aa-e53e1a9a9010" providerId="ADAL" clId="{2D0BD8AB-C795-4CFF-B556-B0B1141B4EF9}" dt="2023-10-30T15:22:19.211" v="1" actId="478"/>
          <ac:picMkLst>
            <pc:docMk/>
            <pc:sldMk cId="2704827214" sldId="2147470474"/>
            <ac:picMk id="7" creationId="{2A4B9774-477D-C62F-654D-88CD222ECBBF}"/>
          </ac:picMkLst>
        </pc:picChg>
        <pc:picChg chg="mod">
          <ac:chgData name="Sanderson, Steve (WW-MOM)" userId="12c209f0-51c8-4029-96aa-e53e1a9a9010" providerId="ADAL" clId="{2D0BD8AB-C795-4CFF-B556-B0B1141B4EF9}" dt="2023-10-30T15:22:48.366" v="14" actId="1076"/>
          <ac:picMkLst>
            <pc:docMk/>
            <pc:sldMk cId="2704827214" sldId="2147470474"/>
            <ac:picMk id="14" creationId="{F701FE49-99B7-3CFE-A8C9-D080CBE554B5}"/>
          </ac:picMkLst>
        </pc:picChg>
      </pc:sldChg>
      <pc:sldChg chg="modSp mod">
        <pc:chgData name="Sanderson, Steve (WW-MOM)" userId="12c209f0-51c8-4029-96aa-e53e1a9a9010" providerId="ADAL" clId="{2D0BD8AB-C795-4CFF-B556-B0B1141B4EF9}" dt="2023-10-31T18:35:15.689" v="44" actId="20577"/>
        <pc:sldMkLst>
          <pc:docMk/>
          <pc:sldMk cId="1450972390" sldId="2147470478"/>
        </pc:sldMkLst>
        <pc:spChg chg="mod">
          <ac:chgData name="Sanderson, Steve (WW-MOM)" userId="12c209f0-51c8-4029-96aa-e53e1a9a9010" providerId="ADAL" clId="{2D0BD8AB-C795-4CFF-B556-B0B1141B4EF9}" dt="2023-10-31T18:35:15.689" v="44" actId="20577"/>
          <ac:spMkLst>
            <pc:docMk/>
            <pc:sldMk cId="1450972390" sldId="2147470478"/>
            <ac:spMk id="3" creationId="{2B5B6E15-EEF7-B133-1654-73D5FF590F97}"/>
          </ac:spMkLst>
        </pc:spChg>
      </pc:sldChg>
    </pc:docChg>
  </pc:docChgLst>
  <pc:docChgLst>
    <pc:chgData name="Baum, Kristen (STL-MOM)" userId="S::kristen.baum@momentumww.com::ba9efd3d-359d-4012-9c68-3c0424873fac" providerId="AD" clId="Web-{02CC7B0F-5FE7-E8FE-58D2-640A50B02A95}"/>
    <pc:docChg chg="addSld delSld modSld sldOrd addMainMaster">
      <pc:chgData name="Baum, Kristen (STL-MOM)" userId="S::kristen.baum@momentumww.com::ba9efd3d-359d-4012-9c68-3c0424873fac" providerId="AD" clId="Web-{02CC7B0F-5FE7-E8FE-58D2-640A50B02A95}" dt="2023-10-10T17:32:42.601" v="101" actId="1076"/>
      <pc:docMkLst>
        <pc:docMk/>
      </pc:docMkLst>
      <pc:sldChg chg="del">
        <pc:chgData name="Baum, Kristen (STL-MOM)" userId="S::kristen.baum@momentumww.com::ba9efd3d-359d-4012-9c68-3c0424873fac" providerId="AD" clId="Web-{02CC7B0F-5FE7-E8FE-58D2-640A50B02A95}" dt="2023-10-10T17:10:43.019" v="13"/>
        <pc:sldMkLst>
          <pc:docMk/>
          <pc:sldMk cId="109857222" sldId="256"/>
        </pc:sldMkLst>
      </pc:sldChg>
      <pc:sldChg chg="add">
        <pc:chgData name="Baum, Kristen (STL-MOM)" userId="S::kristen.baum@momentumww.com::ba9efd3d-359d-4012-9c68-3c0424873fac" providerId="AD" clId="Web-{02CC7B0F-5FE7-E8FE-58D2-640A50B02A95}" dt="2023-10-10T17:07:21.217" v="0"/>
        <pc:sldMkLst>
          <pc:docMk/>
          <pc:sldMk cId="1553938760" sldId="257"/>
        </pc:sldMkLst>
      </pc:sldChg>
      <pc:sldChg chg="modSp add">
        <pc:chgData name="Baum, Kristen (STL-MOM)" userId="S::kristen.baum@momentumww.com::ba9efd3d-359d-4012-9c68-3c0424873fac" providerId="AD" clId="Web-{02CC7B0F-5FE7-E8FE-58D2-640A50B02A95}" dt="2023-10-10T17:19:23.220" v="76" actId="20577"/>
        <pc:sldMkLst>
          <pc:docMk/>
          <pc:sldMk cId="1847300379" sldId="258"/>
        </pc:sldMkLst>
        <pc:spChg chg="mod">
          <ac:chgData name="Baum, Kristen (STL-MOM)" userId="S::kristen.baum@momentumww.com::ba9efd3d-359d-4012-9c68-3c0424873fac" providerId="AD" clId="Web-{02CC7B0F-5FE7-E8FE-58D2-640A50B02A95}" dt="2023-10-10T17:19:23.220" v="76" actId="20577"/>
          <ac:spMkLst>
            <pc:docMk/>
            <pc:sldMk cId="1847300379" sldId="258"/>
            <ac:spMk id="6" creationId="{E88C40F7-A575-520C-FB3C-760583FEEFF7}"/>
          </ac:spMkLst>
        </pc:spChg>
      </pc:sldChg>
      <pc:sldChg chg="add mod setBg">
        <pc:chgData name="Baum, Kristen (STL-MOM)" userId="S::kristen.baum@momentumww.com::ba9efd3d-359d-4012-9c68-3c0424873fac" providerId="AD" clId="Web-{02CC7B0F-5FE7-E8FE-58D2-640A50B02A95}" dt="2023-10-10T17:16:19.903" v="32"/>
        <pc:sldMkLst>
          <pc:docMk/>
          <pc:sldMk cId="2467631862" sldId="259"/>
        </pc:sldMkLst>
      </pc:sldChg>
      <pc:sldChg chg="add">
        <pc:chgData name="Baum, Kristen (STL-MOM)" userId="S::kristen.baum@momentumww.com::ba9efd3d-359d-4012-9c68-3c0424873fac" providerId="AD" clId="Web-{02CC7B0F-5FE7-E8FE-58D2-640A50B02A95}" dt="2023-10-10T17:07:29.420" v="3"/>
        <pc:sldMkLst>
          <pc:docMk/>
          <pc:sldMk cId="2850283132" sldId="260"/>
        </pc:sldMkLst>
      </pc:sldChg>
      <pc:sldChg chg="add">
        <pc:chgData name="Baum, Kristen (STL-MOM)" userId="S::kristen.baum@momentumww.com::ba9efd3d-359d-4012-9c68-3c0424873fac" providerId="AD" clId="Web-{02CC7B0F-5FE7-E8FE-58D2-640A50B02A95}" dt="2023-10-10T17:07:36.795" v="4"/>
        <pc:sldMkLst>
          <pc:docMk/>
          <pc:sldMk cId="665366740" sldId="261"/>
        </pc:sldMkLst>
      </pc:sldChg>
      <pc:sldChg chg="add">
        <pc:chgData name="Baum, Kristen (STL-MOM)" userId="S::kristen.baum@momentumww.com::ba9efd3d-359d-4012-9c68-3c0424873fac" providerId="AD" clId="Web-{02CC7B0F-5FE7-E8FE-58D2-640A50B02A95}" dt="2023-10-10T17:07:38.108" v="5"/>
        <pc:sldMkLst>
          <pc:docMk/>
          <pc:sldMk cId="718821747" sldId="262"/>
        </pc:sldMkLst>
      </pc:sldChg>
      <pc:sldChg chg="add mod setBg">
        <pc:chgData name="Baum, Kristen (STL-MOM)" userId="S::kristen.baum@momentumww.com::ba9efd3d-359d-4012-9c68-3c0424873fac" providerId="AD" clId="Web-{02CC7B0F-5FE7-E8FE-58D2-640A50B02A95}" dt="2023-10-10T17:16:50.154" v="34"/>
        <pc:sldMkLst>
          <pc:docMk/>
          <pc:sldMk cId="2817314796" sldId="263"/>
        </pc:sldMkLst>
      </pc:sldChg>
      <pc:sldChg chg="add">
        <pc:chgData name="Baum, Kristen (STL-MOM)" userId="S::kristen.baum@momentumww.com::ba9efd3d-359d-4012-9c68-3c0424873fac" providerId="AD" clId="Web-{02CC7B0F-5FE7-E8FE-58D2-640A50B02A95}" dt="2023-10-10T17:08:01.171" v="7"/>
        <pc:sldMkLst>
          <pc:docMk/>
          <pc:sldMk cId="616943928" sldId="264"/>
        </pc:sldMkLst>
      </pc:sldChg>
      <pc:sldChg chg="add">
        <pc:chgData name="Baum, Kristen (STL-MOM)" userId="S::kristen.baum@momentumww.com::ba9efd3d-359d-4012-9c68-3c0424873fac" providerId="AD" clId="Web-{02CC7B0F-5FE7-E8FE-58D2-640A50B02A95}" dt="2023-10-10T17:08:02.515" v="8"/>
        <pc:sldMkLst>
          <pc:docMk/>
          <pc:sldMk cId="1815347694" sldId="265"/>
        </pc:sldMkLst>
      </pc:sldChg>
      <pc:sldChg chg="add mod modShow">
        <pc:chgData name="Baum, Kristen (STL-MOM)" userId="S::kristen.baum@momentumww.com::ba9efd3d-359d-4012-9c68-3c0424873fac" providerId="AD" clId="Web-{02CC7B0F-5FE7-E8FE-58D2-640A50B02A95}" dt="2023-10-10T17:17:01.373" v="36"/>
        <pc:sldMkLst>
          <pc:docMk/>
          <pc:sldMk cId="60966991" sldId="266"/>
        </pc:sldMkLst>
      </pc:sldChg>
      <pc:sldChg chg="add">
        <pc:chgData name="Baum, Kristen (STL-MOM)" userId="S::kristen.baum@momentumww.com::ba9efd3d-359d-4012-9c68-3c0424873fac" providerId="AD" clId="Web-{02CC7B0F-5FE7-E8FE-58D2-640A50B02A95}" dt="2023-10-10T17:09:27.408" v="10"/>
        <pc:sldMkLst>
          <pc:docMk/>
          <pc:sldMk cId="301562050" sldId="267"/>
        </pc:sldMkLst>
      </pc:sldChg>
      <pc:sldChg chg="add del">
        <pc:chgData name="Baum, Kristen (STL-MOM)" userId="S::kristen.baum@momentumww.com::ba9efd3d-359d-4012-9c68-3c0424873fac" providerId="AD" clId="Web-{02CC7B0F-5FE7-E8FE-58D2-640A50B02A95}" dt="2023-10-10T17:17:18.561" v="39"/>
        <pc:sldMkLst>
          <pc:docMk/>
          <pc:sldMk cId="963675482" sldId="268"/>
        </pc:sldMkLst>
      </pc:sldChg>
      <pc:sldChg chg="add mod modShow">
        <pc:chgData name="Baum, Kristen (STL-MOM)" userId="S::kristen.baum@momentumww.com::ba9efd3d-359d-4012-9c68-3c0424873fac" providerId="AD" clId="Web-{02CC7B0F-5FE7-E8FE-58D2-640A50B02A95}" dt="2023-10-10T17:17:15.764" v="38"/>
        <pc:sldMkLst>
          <pc:docMk/>
          <pc:sldMk cId="4225675731" sldId="269"/>
        </pc:sldMkLst>
      </pc:sldChg>
      <pc:sldChg chg="modSp add ord">
        <pc:chgData name="Baum, Kristen (STL-MOM)" userId="S::kristen.baum@momentumww.com::ba9efd3d-359d-4012-9c68-3c0424873fac" providerId="AD" clId="Web-{02CC7B0F-5FE7-E8FE-58D2-640A50B02A95}" dt="2023-10-10T17:18:33.969" v="50"/>
        <pc:sldMkLst>
          <pc:docMk/>
          <pc:sldMk cId="1244007515" sldId="270"/>
        </pc:sldMkLst>
        <pc:spChg chg="mod">
          <ac:chgData name="Baum, Kristen (STL-MOM)" userId="S::kristen.baum@momentumww.com::ba9efd3d-359d-4012-9c68-3c0424873fac" providerId="AD" clId="Web-{02CC7B0F-5FE7-E8FE-58D2-640A50B02A95}" dt="2023-10-10T17:18:00.265" v="49" actId="20577"/>
          <ac:spMkLst>
            <pc:docMk/>
            <pc:sldMk cId="1244007515" sldId="270"/>
            <ac:spMk id="3" creationId="{DEC11859-4542-8B7C-D1B8-1375A50358A1}"/>
          </ac:spMkLst>
        </pc:spChg>
      </pc:sldChg>
      <pc:sldChg chg="addSp delSp modSp add mod modShow">
        <pc:chgData name="Baum, Kristen (STL-MOM)" userId="S::kristen.baum@momentumww.com::ba9efd3d-359d-4012-9c68-3c0424873fac" providerId="AD" clId="Web-{02CC7B0F-5FE7-E8FE-58D2-640A50B02A95}" dt="2023-10-10T17:32:42.601" v="101" actId="1076"/>
        <pc:sldMkLst>
          <pc:docMk/>
          <pc:sldMk cId="241718074" sldId="271"/>
        </pc:sldMkLst>
        <pc:spChg chg="add del mod">
          <ac:chgData name="Baum, Kristen (STL-MOM)" userId="S::kristen.baum@momentumww.com::ba9efd3d-359d-4012-9c68-3c0424873fac" providerId="AD" clId="Web-{02CC7B0F-5FE7-E8FE-58D2-640A50B02A95}" dt="2023-10-10T17:27:10.514" v="96"/>
          <ac:spMkLst>
            <pc:docMk/>
            <pc:sldMk cId="241718074" sldId="271"/>
            <ac:spMk id="3" creationId="{BD21F0BB-86EC-D5F7-7584-F81BC8C4F360}"/>
          </ac:spMkLst>
        </pc:spChg>
        <pc:picChg chg="add mod">
          <ac:chgData name="Baum, Kristen (STL-MOM)" userId="S::kristen.baum@momentumww.com::ba9efd3d-359d-4012-9c68-3c0424873fac" providerId="AD" clId="Web-{02CC7B0F-5FE7-E8FE-58D2-640A50B02A95}" dt="2023-10-10T17:32:42.601" v="101" actId="1076"/>
          <ac:picMkLst>
            <pc:docMk/>
            <pc:sldMk cId="241718074" sldId="271"/>
            <ac:picMk id="5" creationId="{B19C6E2A-F1FE-69E4-AA0B-1DF1848E43EF}"/>
          </ac:picMkLst>
        </pc:picChg>
        <pc:picChg chg="del">
          <ac:chgData name="Baum, Kristen (STL-MOM)" userId="S::kristen.baum@momentumww.com::ba9efd3d-359d-4012-9c68-3c0424873fac" providerId="AD" clId="Web-{02CC7B0F-5FE7-E8FE-58D2-640A50B02A95}" dt="2023-10-10T17:27:04.389" v="92"/>
          <ac:picMkLst>
            <pc:docMk/>
            <pc:sldMk cId="241718074" sldId="271"/>
            <ac:picMk id="6" creationId="{715B38C9-2EA3-1DAA-A5FC-6832FE18F4C8}"/>
          </ac:picMkLst>
        </pc:picChg>
      </pc:sldChg>
      <pc:sldChg chg="modSp add mod replId setBg">
        <pc:chgData name="Baum, Kristen (STL-MOM)" userId="S::kristen.baum@momentumww.com::ba9efd3d-359d-4012-9c68-3c0424873fac" providerId="AD" clId="Web-{02CC7B0F-5FE7-E8FE-58D2-640A50B02A95}" dt="2023-10-10T17:20:17.941" v="87" actId="20577"/>
        <pc:sldMkLst>
          <pc:docMk/>
          <pc:sldMk cId="2979381271" sldId="272"/>
        </pc:sldMkLst>
        <pc:spChg chg="mod">
          <ac:chgData name="Baum, Kristen (STL-MOM)" userId="S::kristen.baum@momentumww.com::ba9efd3d-359d-4012-9c68-3c0424873fac" providerId="AD" clId="Web-{02CC7B0F-5FE7-E8FE-58D2-640A50B02A95}" dt="2023-10-10T17:20:17.941" v="87" actId="20577"/>
          <ac:spMkLst>
            <pc:docMk/>
            <pc:sldMk cId="2979381271" sldId="272"/>
            <ac:spMk id="6" creationId="{9557EEF6-07E1-F7EA-3779-6A6EDEECCBFA}"/>
          </ac:spMkLst>
        </pc:spChg>
      </pc:sldChg>
      <pc:sldChg chg="add mod modShow">
        <pc:chgData name="Baum, Kristen (STL-MOM)" userId="S::kristen.baum@momentumww.com::ba9efd3d-359d-4012-9c68-3c0424873fac" providerId="AD" clId="Web-{02CC7B0F-5FE7-E8FE-58D2-640A50B02A95}" dt="2023-10-10T17:16:56.498" v="35"/>
        <pc:sldMkLst>
          <pc:docMk/>
          <pc:sldMk cId="2043580169" sldId="273"/>
        </pc:sldMkLst>
      </pc:sldChg>
      <pc:sldChg chg="modSp add ord replId">
        <pc:chgData name="Baum, Kristen (STL-MOM)" userId="S::kristen.baum@momentumww.com::ba9efd3d-359d-4012-9c68-3c0424873fac" providerId="AD" clId="Web-{02CC7B0F-5FE7-E8FE-58D2-640A50B02A95}" dt="2023-10-10T17:20:28.488" v="91" actId="20577"/>
        <pc:sldMkLst>
          <pc:docMk/>
          <pc:sldMk cId="3889703437" sldId="274"/>
        </pc:sldMkLst>
        <pc:spChg chg="mod">
          <ac:chgData name="Baum, Kristen (STL-MOM)" userId="S::kristen.baum@momentumww.com::ba9efd3d-359d-4012-9c68-3c0424873fac" providerId="AD" clId="Web-{02CC7B0F-5FE7-E8FE-58D2-640A50B02A95}" dt="2023-10-10T17:20:28.488" v="91" actId="20577"/>
          <ac:spMkLst>
            <pc:docMk/>
            <pc:sldMk cId="3889703437" sldId="274"/>
            <ac:spMk id="6" creationId="{9557EEF6-07E1-F7EA-3779-6A6EDEECCBFA}"/>
          </ac:spMkLst>
        </pc:spChg>
      </pc:sldChg>
      <pc:sldMasterChg chg="add addSldLayout">
        <pc:chgData name="Baum, Kristen (STL-MOM)" userId="S::kristen.baum@momentumww.com::ba9efd3d-359d-4012-9c68-3c0424873fac" providerId="AD" clId="Web-{02CC7B0F-5FE7-E8FE-58D2-640A50B02A95}" dt="2023-10-10T17:07:27.233" v="2"/>
        <pc:sldMasterMkLst>
          <pc:docMk/>
          <pc:sldMasterMk cId="3211252239" sldId="2147483648"/>
        </pc:sldMasterMkLst>
        <pc:sldLayoutChg chg="add">
          <pc:chgData name="Baum, Kristen (STL-MOM)" userId="S::kristen.baum@momentumww.com::ba9efd3d-359d-4012-9c68-3c0424873fac" providerId="AD" clId="Web-{02CC7B0F-5FE7-E8FE-58D2-640A50B02A95}" dt="2023-10-10T17:07:21.217" v="0"/>
          <pc:sldLayoutMkLst>
            <pc:docMk/>
            <pc:sldMasterMk cId="3211252239" sldId="2147483648"/>
            <pc:sldLayoutMk cId="878362182" sldId="2147483649"/>
          </pc:sldLayoutMkLst>
        </pc:sldLayoutChg>
        <pc:sldLayoutChg chg="add">
          <pc:chgData name="Baum, Kristen (STL-MOM)" userId="S::kristen.baum@momentumww.com::ba9efd3d-359d-4012-9c68-3c0424873fac" providerId="AD" clId="Web-{02CC7B0F-5FE7-E8FE-58D2-640A50B02A95}" dt="2023-10-10T17:07:24.670" v="1"/>
          <pc:sldLayoutMkLst>
            <pc:docMk/>
            <pc:sldMasterMk cId="3211252239" sldId="2147483648"/>
            <pc:sldLayoutMk cId="3334131381" sldId="2147483687"/>
          </pc:sldLayoutMkLst>
        </pc:sldLayoutChg>
        <pc:sldLayoutChg chg="add">
          <pc:chgData name="Baum, Kristen (STL-MOM)" userId="S::kristen.baum@momentumww.com::ba9efd3d-359d-4012-9c68-3c0424873fac" providerId="AD" clId="Web-{02CC7B0F-5FE7-E8FE-58D2-640A50B02A95}" dt="2023-10-10T17:07:27.233" v="2"/>
          <pc:sldLayoutMkLst>
            <pc:docMk/>
            <pc:sldMasterMk cId="3211252239" sldId="2147483648"/>
            <pc:sldLayoutMk cId="1321082173" sldId="2147483689"/>
          </pc:sldLayoutMkLst>
        </pc:sldLayoutChg>
      </pc:sldMasterChg>
    </pc:docChg>
  </pc:docChgLst>
  <pc:docChgLst>
    <pc:chgData name="Baum, Kristen (STL-MOM)" userId="S::kristen.baum@momentumww.com::ba9efd3d-359d-4012-9c68-3c0424873fac" providerId="AD" clId="Web-{C1AD40DA-46B7-FBC1-B7DB-88CCB4590E3D}"/>
    <pc:docChg chg="addSld modSld sldOrd addMainMaster modMainMaster">
      <pc:chgData name="Baum, Kristen (STL-MOM)" userId="S::kristen.baum@momentumww.com::ba9efd3d-359d-4012-9c68-3c0424873fac" providerId="AD" clId="Web-{C1AD40DA-46B7-FBC1-B7DB-88CCB4590E3D}" dt="2023-10-31T18:26:52.422" v="70"/>
      <pc:docMkLst>
        <pc:docMk/>
      </pc:docMkLst>
      <pc:sldChg chg="modSp">
        <pc:chgData name="Baum, Kristen (STL-MOM)" userId="S::kristen.baum@momentumww.com::ba9efd3d-359d-4012-9c68-3c0424873fac" providerId="AD" clId="Web-{C1AD40DA-46B7-FBC1-B7DB-88CCB4590E3D}" dt="2023-10-31T16:43:49.930" v="52" actId="20577"/>
        <pc:sldMkLst>
          <pc:docMk/>
          <pc:sldMk cId="1847300379" sldId="258"/>
        </pc:sldMkLst>
        <pc:spChg chg="mod">
          <ac:chgData name="Baum, Kristen (STL-MOM)" userId="S::kristen.baum@momentumww.com::ba9efd3d-359d-4012-9c68-3c0424873fac" providerId="AD" clId="Web-{C1AD40DA-46B7-FBC1-B7DB-88CCB4590E3D}" dt="2023-10-31T16:43:49.930" v="52" actId="20577"/>
          <ac:spMkLst>
            <pc:docMk/>
            <pc:sldMk cId="1847300379" sldId="258"/>
            <ac:spMk id="6" creationId="{E88C40F7-A575-520C-FB3C-760583FEEFF7}"/>
          </ac:spMkLst>
        </pc:spChg>
      </pc:sldChg>
      <pc:sldChg chg="ord">
        <pc:chgData name="Baum, Kristen (STL-MOM)" userId="S::kristen.baum@momentumww.com::ba9efd3d-359d-4012-9c68-3c0424873fac" providerId="AD" clId="Web-{C1AD40DA-46B7-FBC1-B7DB-88CCB4590E3D}" dt="2023-10-30T18:58:57.403" v="2"/>
        <pc:sldMkLst>
          <pc:docMk/>
          <pc:sldMk cId="2850283132" sldId="260"/>
        </pc:sldMkLst>
      </pc:sldChg>
      <pc:sldChg chg="mod ord modShow">
        <pc:chgData name="Baum, Kristen (STL-MOM)" userId="S::kristen.baum@momentumww.com::ba9efd3d-359d-4012-9c68-3c0424873fac" providerId="AD" clId="Web-{C1AD40DA-46B7-FBC1-B7DB-88CCB4590E3D}" dt="2023-10-30T19:00:56.313" v="6"/>
        <pc:sldMkLst>
          <pc:docMk/>
          <pc:sldMk cId="665366740" sldId="261"/>
        </pc:sldMkLst>
      </pc:sldChg>
      <pc:sldChg chg="ord">
        <pc:chgData name="Baum, Kristen (STL-MOM)" userId="S::kristen.baum@momentumww.com::ba9efd3d-359d-4012-9c68-3c0424873fac" providerId="AD" clId="Web-{C1AD40DA-46B7-FBC1-B7DB-88CCB4590E3D}" dt="2023-10-30T18:58:44.841" v="1"/>
        <pc:sldMkLst>
          <pc:docMk/>
          <pc:sldMk cId="718821747" sldId="262"/>
        </pc:sldMkLst>
      </pc:sldChg>
      <pc:sldChg chg="ord">
        <pc:chgData name="Baum, Kristen (STL-MOM)" userId="S::kristen.baum@momentumww.com::ba9efd3d-359d-4012-9c68-3c0424873fac" providerId="AD" clId="Web-{C1AD40DA-46B7-FBC1-B7DB-88CCB4590E3D}" dt="2023-10-30T20:00:23.270" v="33"/>
        <pc:sldMkLst>
          <pc:docMk/>
          <pc:sldMk cId="2817314796" sldId="263"/>
        </pc:sldMkLst>
      </pc:sldChg>
      <pc:sldChg chg="ord">
        <pc:chgData name="Baum, Kristen (STL-MOM)" userId="S::kristen.baum@momentumww.com::ba9efd3d-359d-4012-9c68-3c0424873fac" providerId="AD" clId="Web-{C1AD40DA-46B7-FBC1-B7DB-88CCB4590E3D}" dt="2023-10-30T20:00:23.270" v="32"/>
        <pc:sldMkLst>
          <pc:docMk/>
          <pc:sldMk cId="616943928" sldId="264"/>
        </pc:sldMkLst>
      </pc:sldChg>
      <pc:sldChg chg="ord">
        <pc:chgData name="Baum, Kristen (STL-MOM)" userId="S::kristen.baum@momentumww.com::ba9efd3d-359d-4012-9c68-3c0424873fac" providerId="AD" clId="Web-{C1AD40DA-46B7-FBC1-B7DB-88CCB4590E3D}" dt="2023-10-30T20:00:23.270" v="31"/>
        <pc:sldMkLst>
          <pc:docMk/>
          <pc:sldMk cId="1815347694" sldId="265"/>
        </pc:sldMkLst>
      </pc:sldChg>
      <pc:sldChg chg="mod modShow">
        <pc:chgData name="Baum, Kristen (STL-MOM)" userId="S::kristen.baum@momentumww.com::ba9efd3d-359d-4012-9c68-3c0424873fac" providerId="AD" clId="Web-{C1AD40DA-46B7-FBC1-B7DB-88CCB4590E3D}" dt="2023-10-31T18:26:41.187" v="68"/>
        <pc:sldMkLst>
          <pc:docMk/>
          <pc:sldMk cId="60966991" sldId="266"/>
        </pc:sldMkLst>
      </pc:sldChg>
      <pc:sldChg chg="ord">
        <pc:chgData name="Baum, Kristen (STL-MOM)" userId="S::kristen.baum@momentumww.com::ba9efd3d-359d-4012-9c68-3c0424873fac" providerId="AD" clId="Web-{C1AD40DA-46B7-FBC1-B7DB-88CCB4590E3D}" dt="2023-10-30T19:50:41.473" v="7"/>
        <pc:sldMkLst>
          <pc:docMk/>
          <pc:sldMk cId="301562050" sldId="267"/>
        </pc:sldMkLst>
      </pc:sldChg>
      <pc:sldChg chg="modSp ord">
        <pc:chgData name="Baum, Kristen (STL-MOM)" userId="S::kristen.baum@momentumww.com::ba9efd3d-359d-4012-9c68-3c0424873fac" providerId="AD" clId="Web-{C1AD40DA-46B7-FBC1-B7DB-88CCB4590E3D}" dt="2023-10-31T16:44:41.806" v="57"/>
        <pc:sldMkLst>
          <pc:docMk/>
          <pc:sldMk cId="4225675731" sldId="269"/>
        </pc:sldMkLst>
        <pc:spChg chg="mod">
          <ac:chgData name="Baum, Kristen (STL-MOM)" userId="S::kristen.baum@momentumww.com::ba9efd3d-359d-4012-9c68-3c0424873fac" providerId="AD" clId="Web-{C1AD40DA-46B7-FBC1-B7DB-88CCB4590E3D}" dt="2023-10-31T16:44:41.806" v="57"/>
          <ac:spMkLst>
            <pc:docMk/>
            <pc:sldMk cId="4225675731" sldId="269"/>
            <ac:spMk id="2" creationId="{B8970897-BA48-A608-693C-C026A2C0E96E}"/>
          </ac:spMkLst>
        </pc:spChg>
      </pc:sldChg>
      <pc:sldChg chg="ord">
        <pc:chgData name="Baum, Kristen (STL-MOM)" userId="S::kristen.baum@momentumww.com::ba9efd3d-359d-4012-9c68-3c0424873fac" providerId="AD" clId="Web-{C1AD40DA-46B7-FBC1-B7DB-88CCB4590E3D}" dt="2023-10-30T19:00:06.171" v="4"/>
        <pc:sldMkLst>
          <pc:docMk/>
          <pc:sldMk cId="1244007515" sldId="270"/>
        </pc:sldMkLst>
      </pc:sldChg>
      <pc:sldChg chg="mod modShow">
        <pc:chgData name="Baum, Kristen (STL-MOM)" userId="S::kristen.baum@momentumww.com::ba9efd3d-359d-4012-9c68-3c0424873fac" providerId="AD" clId="Web-{C1AD40DA-46B7-FBC1-B7DB-88CCB4590E3D}" dt="2023-10-31T18:26:43.984" v="69"/>
        <pc:sldMkLst>
          <pc:docMk/>
          <pc:sldMk cId="241718074" sldId="271"/>
        </pc:sldMkLst>
      </pc:sldChg>
      <pc:sldChg chg="mod modShow">
        <pc:chgData name="Baum, Kristen (STL-MOM)" userId="S::kristen.baum@momentumww.com::ba9efd3d-359d-4012-9c68-3c0424873fac" providerId="AD" clId="Web-{C1AD40DA-46B7-FBC1-B7DB-88CCB4590E3D}" dt="2023-10-31T18:26:37.422" v="67"/>
        <pc:sldMkLst>
          <pc:docMk/>
          <pc:sldMk cId="2979381271" sldId="272"/>
        </pc:sldMkLst>
      </pc:sldChg>
      <pc:sldChg chg="ord">
        <pc:chgData name="Baum, Kristen (STL-MOM)" userId="S::kristen.baum@momentumww.com::ba9efd3d-359d-4012-9c68-3c0424873fac" providerId="AD" clId="Web-{C1AD40DA-46B7-FBC1-B7DB-88CCB4590E3D}" dt="2023-10-30T20:00:23.270" v="30"/>
        <pc:sldMkLst>
          <pc:docMk/>
          <pc:sldMk cId="2043580169" sldId="273"/>
        </pc:sldMkLst>
      </pc:sldChg>
      <pc:sldChg chg="ord">
        <pc:chgData name="Baum, Kristen (STL-MOM)" userId="S::kristen.baum@momentumww.com::ba9efd3d-359d-4012-9c68-3c0424873fac" providerId="AD" clId="Web-{C1AD40DA-46B7-FBC1-B7DB-88CCB4590E3D}" dt="2023-10-31T18:26:25.359" v="63"/>
        <pc:sldMkLst>
          <pc:docMk/>
          <pc:sldMk cId="3889703437" sldId="274"/>
        </pc:sldMkLst>
      </pc:sldChg>
      <pc:sldChg chg="ord">
        <pc:chgData name="Baum, Kristen (STL-MOM)" userId="S::kristen.baum@momentumww.com::ba9efd3d-359d-4012-9c68-3c0424873fac" providerId="AD" clId="Web-{C1AD40DA-46B7-FBC1-B7DB-88CCB4590E3D}" dt="2023-10-31T16:44:11.289" v="53"/>
        <pc:sldMkLst>
          <pc:docMk/>
          <pc:sldMk cId="6061146" sldId="2147470334"/>
        </pc:sldMkLst>
      </pc:sldChg>
      <pc:sldChg chg="ord">
        <pc:chgData name="Baum, Kristen (STL-MOM)" userId="S::kristen.baum@momentumww.com::ba9efd3d-359d-4012-9c68-3c0424873fac" providerId="AD" clId="Web-{C1AD40DA-46B7-FBC1-B7DB-88CCB4590E3D}" dt="2023-10-30T19:52:33.617" v="9"/>
        <pc:sldMkLst>
          <pc:docMk/>
          <pc:sldMk cId="2704827214" sldId="2147470474"/>
        </pc:sldMkLst>
      </pc:sldChg>
      <pc:sldChg chg="add">
        <pc:chgData name="Baum, Kristen (STL-MOM)" userId="S::kristen.baum@momentumww.com::ba9efd3d-359d-4012-9c68-3c0424873fac" providerId="AD" clId="Web-{C1AD40DA-46B7-FBC1-B7DB-88CCB4590E3D}" dt="2023-10-30T18:58:21.606" v="0"/>
        <pc:sldMkLst>
          <pc:docMk/>
          <pc:sldMk cId="935529358" sldId="2147470475"/>
        </pc:sldMkLst>
      </pc:sldChg>
      <pc:sldChg chg="add">
        <pc:chgData name="Baum, Kristen (STL-MOM)" userId="S::kristen.baum@momentumww.com::ba9efd3d-359d-4012-9c68-3c0424873fac" providerId="AD" clId="Web-{C1AD40DA-46B7-FBC1-B7DB-88CCB4590E3D}" dt="2023-10-30T19:54:47.935" v="10"/>
        <pc:sldMkLst>
          <pc:docMk/>
          <pc:sldMk cId="665136011" sldId="2147470476"/>
        </pc:sldMkLst>
      </pc:sldChg>
      <pc:sldChg chg="add">
        <pc:chgData name="Baum, Kristen (STL-MOM)" userId="S::kristen.baum@momentumww.com::ba9efd3d-359d-4012-9c68-3c0424873fac" providerId="AD" clId="Web-{C1AD40DA-46B7-FBC1-B7DB-88CCB4590E3D}" dt="2023-10-30T19:55:30.014" v="11"/>
        <pc:sldMkLst>
          <pc:docMk/>
          <pc:sldMk cId="3161844366" sldId="2147470477"/>
        </pc:sldMkLst>
      </pc:sldChg>
      <pc:sldChg chg="modSp add">
        <pc:chgData name="Baum, Kristen (STL-MOM)" userId="S::kristen.baum@momentumww.com::ba9efd3d-359d-4012-9c68-3c0424873fac" providerId="AD" clId="Web-{C1AD40DA-46B7-FBC1-B7DB-88CCB4590E3D}" dt="2023-10-31T18:25:19.466" v="62" actId="20577"/>
        <pc:sldMkLst>
          <pc:docMk/>
          <pc:sldMk cId="1450972390" sldId="2147470478"/>
        </pc:sldMkLst>
        <pc:spChg chg="mod">
          <ac:chgData name="Baum, Kristen (STL-MOM)" userId="S::kristen.baum@momentumww.com::ba9efd3d-359d-4012-9c68-3c0424873fac" providerId="AD" clId="Web-{C1AD40DA-46B7-FBC1-B7DB-88CCB4590E3D}" dt="2023-10-31T18:25:19.466" v="62" actId="20577"/>
          <ac:spMkLst>
            <pc:docMk/>
            <pc:sldMk cId="1450972390" sldId="2147470478"/>
            <ac:spMk id="3" creationId="{2B5B6E15-EEF7-B133-1654-73D5FF590F97}"/>
          </ac:spMkLst>
        </pc:spChg>
      </pc:sldChg>
      <pc:sldChg chg="add">
        <pc:chgData name="Baum, Kristen (STL-MOM)" userId="S::kristen.baum@momentumww.com::ba9efd3d-359d-4012-9c68-3c0424873fac" providerId="AD" clId="Web-{C1AD40DA-46B7-FBC1-B7DB-88CCB4590E3D}" dt="2023-10-30T19:55:30.296" v="13"/>
        <pc:sldMkLst>
          <pc:docMk/>
          <pc:sldMk cId="1911059311" sldId="2147470479"/>
        </pc:sldMkLst>
      </pc:sldChg>
      <pc:sldChg chg="add">
        <pc:chgData name="Baum, Kristen (STL-MOM)" userId="S::kristen.baum@momentumww.com::ba9efd3d-359d-4012-9c68-3c0424873fac" providerId="AD" clId="Web-{C1AD40DA-46B7-FBC1-B7DB-88CCB4590E3D}" dt="2023-10-30T19:55:30.452" v="14"/>
        <pc:sldMkLst>
          <pc:docMk/>
          <pc:sldMk cId="455779423" sldId="2147470480"/>
        </pc:sldMkLst>
      </pc:sldChg>
      <pc:sldChg chg="modSp add">
        <pc:chgData name="Baum, Kristen (STL-MOM)" userId="S::kristen.baum@momentumww.com::ba9efd3d-359d-4012-9c68-3c0424873fac" providerId="AD" clId="Web-{C1AD40DA-46B7-FBC1-B7DB-88CCB4590E3D}" dt="2023-10-31T18:24:48.027" v="60" actId="1076"/>
        <pc:sldMkLst>
          <pc:docMk/>
          <pc:sldMk cId="792018580" sldId="2147470481"/>
        </pc:sldMkLst>
        <pc:picChg chg="mod">
          <ac:chgData name="Baum, Kristen (STL-MOM)" userId="S::kristen.baum@momentumww.com::ba9efd3d-359d-4012-9c68-3c0424873fac" providerId="AD" clId="Web-{C1AD40DA-46B7-FBC1-B7DB-88CCB4590E3D}" dt="2023-10-31T18:24:48.027" v="60" actId="1076"/>
          <ac:picMkLst>
            <pc:docMk/>
            <pc:sldMk cId="792018580" sldId="2147470481"/>
            <ac:picMk id="3" creationId="{38FF2B7A-98E3-D83A-5E17-3CA569A083EE}"/>
          </ac:picMkLst>
        </pc:picChg>
      </pc:sldChg>
      <pc:sldChg chg="add mod ord setBg">
        <pc:chgData name="Baum, Kristen (STL-MOM)" userId="S::kristen.baum@momentumww.com::ba9efd3d-359d-4012-9c68-3c0424873fac" providerId="AD" clId="Web-{C1AD40DA-46B7-FBC1-B7DB-88CCB4590E3D}" dt="2023-10-31T16:45:51.323" v="59"/>
        <pc:sldMkLst>
          <pc:docMk/>
          <pc:sldMk cId="1445429380" sldId="2147470482"/>
        </pc:sldMkLst>
      </pc:sldChg>
      <pc:sldChg chg="add">
        <pc:chgData name="Baum, Kristen (STL-MOM)" userId="S::kristen.baum@momentumww.com::ba9efd3d-359d-4012-9c68-3c0424873fac" providerId="AD" clId="Web-{C1AD40DA-46B7-FBC1-B7DB-88CCB4590E3D}" dt="2023-10-30T19:55:30.796" v="17"/>
        <pc:sldMkLst>
          <pc:docMk/>
          <pc:sldMk cId="3589043967" sldId="2147470483"/>
        </pc:sldMkLst>
      </pc:sldChg>
      <pc:sldChg chg="add">
        <pc:chgData name="Baum, Kristen (STL-MOM)" userId="S::kristen.baum@momentumww.com::ba9efd3d-359d-4012-9c68-3c0424873fac" providerId="AD" clId="Web-{C1AD40DA-46B7-FBC1-B7DB-88CCB4590E3D}" dt="2023-10-30T19:55:30.889" v="18"/>
        <pc:sldMkLst>
          <pc:docMk/>
          <pc:sldMk cId="1379438167" sldId="2147470484"/>
        </pc:sldMkLst>
      </pc:sldChg>
      <pc:sldChg chg="modSp add ord replId">
        <pc:chgData name="Baum, Kristen (STL-MOM)" userId="S::kristen.baum@momentumww.com::ba9efd3d-359d-4012-9c68-3c0424873fac" providerId="AD" clId="Web-{C1AD40DA-46B7-FBC1-B7DB-88CCB4590E3D}" dt="2023-10-31T18:26:52.422" v="70"/>
        <pc:sldMkLst>
          <pc:docMk/>
          <pc:sldMk cId="2074247621" sldId="2147470485"/>
        </pc:sldMkLst>
        <pc:spChg chg="mod">
          <ac:chgData name="Baum, Kristen (STL-MOM)" userId="S::kristen.baum@momentumww.com::ba9efd3d-359d-4012-9c68-3c0424873fac" providerId="AD" clId="Web-{C1AD40DA-46B7-FBC1-B7DB-88CCB4590E3D}" dt="2023-10-30T20:00:00.706" v="29" actId="20577"/>
          <ac:spMkLst>
            <pc:docMk/>
            <pc:sldMk cId="2074247621" sldId="2147470485"/>
            <ac:spMk id="6" creationId="{9557EEF6-07E1-F7EA-3779-6A6EDEECCBFA}"/>
          </ac:spMkLst>
        </pc:spChg>
      </pc:sldChg>
      <pc:sldChg chg="add mod modShow">
        <pc:chgData name="Baum, Kristen (STL-MOM)" userId="S::kristen.baum@momentumww.com::ba9efd3d-359d-4012-9c68-3c0424873fac" providerId="AD" clId="Web-{C1AD40DA-46B7-FBC1-B7DB-88CCB4590E3D}" dt="2023-10-31T18:26:34.843" v="66"/>
        <pc:sldMkLst>
          <pc:docMk/>
          <pc:sldMk cId="3732743994" sldId="2147470486"/>
        </pc:sldMkLst>
      </pc:sldChg>
      <pc:sldChg chg="add mod modShow">
        <pc:chgData name="Baum, Kristen (STL-MOM)" userId="S::kristen.baum@momentumww.com::ba9efd3d-359d-4012-9c68-3c0424873fac" providerId="AD" clId="Web-{C1AD40DA-46B7-FBC1-B7DB-88CCB4590E3D}" dt="2023-10-31T18:26:31.749" v="65"/>
        <pc:sldMkLst>
          <pc:docMk/>
          <pc:sldMk cId="2376145824" sldId="2147470487"/>
        </pc:sldMkLst>
      </pc:sldChg>
      <pc:sldChg chg="add mod modShow">
        <pc:chgData name="Baum, Kristen (STL-MOM)" userId="S::kristen.baum@momentumww.com::ba9efd3d-359d-4012-9c68-3c0424873fac" providerId="AD" clId="Web-{C1AD40DA-46B7-FBC1-B7DB-88CCB4590E3D}" dt="2023-10-31T18:26:28.609" v="64"/>
        <pc:sldMkLst>
          <pc:docMk/>
          <pc:sldMk cId="1333158844" sldId="2147470488"/>
        </pc:sldMkLst>
      </pc:sldChg>
      <pc:sldMasterChg chg="add addSldLayout">
        <pc:chgData name="Baum, Kristen (STL-MOM)" userId="S::kristen.baum@momentumww.com::ba9efd3d-359d-4012-9c68-3c0424873fac" providerId="AD" clId="Web-{C1AD40DA-46B7-FBC1-B7DB-88CCB4590E3D}" dt="2023-10-30T18:58:21.606" v="0"/>
        <pc:sldMasterMkLst>
          <pc:docMk/>
          <pc:sldMasterMk cId="3211252239" sldId="2147483690"/>
        </pc:sldMasterMkLst>
        <pc:sldLayoutChg chg="add">
          <pc:chgData name="Baum, Kristen (STL-MOM)" userId="S::kristen.baum@momentumww.com::ba9efd3d-359d-4012-9c68-3c0424873fac" providerId="AD" clId="Web-{C1AD40DA-46B7-FBC1-B7DB-88CCB4590E3D}" dt="2023-10-30T18:58:21.606" v="0"/>
          <pc:sldLayoutMkLst>
            <pc:docMk/>
            <pc:sldMasterMk cId="3211252239" sldId="2147483690"/>
            <pc:sldLayoutMk cId="3582644745" sldId="2147483651"/>
          </pc:sldLayoutMkLst>
        </pc:sldLayoutChg>
        <pc:sldLayoutChg chg="add">
          <pc:chgData name="Baum, Kristen (STL-MOM)" userId="S::kristen.baum@momentumww.com::ba9efd3d-359d-4012-9c68-3c0424873fac" providerId="AD" clId="Web-{C1AD40DA-46B7-FBC1-B7DB-88CCB4590E3D}" dt="2023-10-30T18:58:21.606" v="0"/>
          <pc:sldLayoutMkLst>
            <pc:docMk/>
            <pc:sldMasterMk cId="3211252239" sldId="2147483690"/>
            <pc:sldLayoutMk cId="3334131381" sldId="2147483660"/>
          </pc:sldLayoutMkLst>
        </pc:sldLayoutChg>
        <pc:sldLayoutChg chg="add">
          <pc:chgData name="Baum, Kristen (STL-MOM)" userId="S::kristen.baum@momentumww.com::ba9efd3d-359d-4012-9c68-3c0424873fac" providerId="AD" clId="Web-{C1AD40DA-46B7-FBC1-B7DB-88CCB4590E3D}" dt="2023-10-30T18:58:21.606" v="0"/>
          <pc:sldLayoutMkLst>
            <pc:docMk/>
            <pc:sldMasterMk cId="3211252239" sldId="2147483690"/>
            <pc:sldLayoutMk cId="1321082173" sldId="2147483662"/>
          </pc:sldLayoutMkLst>
        </pc:sldLayoutChg>
        <pc:sldLayoutChg chg="add">
          <pc:chgData name="Baum, Kristen (STL-MOM)" userId="S::kristen.baum@momentumww.com::ba9efd3d-359d-4012-9c68-3c0424873fac" providerId="AD" clId="Web-{C1AD40DA-46B7-FBC1-B7DB-88CCB4590E3D}" dt="2023-10-30T18:58:21.606" v="0"/>
          <pc:sldLayoutMkLst>
            <pc:docMk/>
            <pc:sldMasterMk cId="3211252239" sldId="2147483690"/>
            <pc:sldLayoutMk cId="3466992159" sldId="2147483663"/>
          </pc:sldLayoutMkLst>
        </pc:sldLayoutChg>
        <pc:sldLayoutChg chg="add">
          <pc:chgData name="Baum, Kristen (STL-MOM)" userId="S::kristen.baum@momentumww.com::ba9efd3d-359d-4012-9c68-3c0424873fac" providerId="AD" clId="Web-{C1AD40DA-46B7-FBC1-B7DB-88CCB4590E3D}" dt="2023-10-30T18:58:21.606" v="0"/>
          <pc:sldLayoutMkLst>
            <pc:docMk/>
            <pc:sldMasterMk cId="3211252239" sldId="2147483690"/>
            <pc:sldLayoutMk cId="1737472165" sldId="2147483664"/>
          </pc:sldLayoutMkLst>
        </pc:sldLayoutChg>
        <pc:sldLayoutChg chg="add">
          <pc:chgData name="Baum, Kristen (STL-MOM)" userId="S::kristen.baum@momentumww.com::ba9efd3d-359d-4012-9c68-3c0424873fac" providerId="AD" clId="Web-{C1AD40DA-46B7-FBC1-B7DB-88CCB4590E3D}" dt="2023-10-30T18:58:21.606" v="0"/>
          <pc:sldLayoutMkLst>
            <pc:docMk/>
            <pc:sldMasterMk cId="3211252239" sldId="2147483690"/>
            <pc:sldLayoutMk cId="3356964045" sldId="2147483665"/>
          </pc:sldLayoutMkLst>
        </pc:sldLayoutChg>
        <pc:sldLayoutChg chg="add">
          <pc:chgData name="Baum, Kristen (STL-MOM)" userId="S::kristen.baum@momentumww.com::ba9efd3d-359d-4012-9c68-3c0424873fac" providerId="AD" clId="Web-{C1AD40DA-46B7-FBC1-B7DB-88CCB4590E3D}" dt="2023-10-30T18:58:21.606" v="0"/>
          <pc:sldLayoutMkLst>
            <pc:docMk/>
            <pc:sldMasterMk cId="3211252239" sldId="2147483690"/>
            <pc:sldLayoutMk cId="3712244443" sldId="2147483666"/>
          </pc:sldLayoutMkLst>
        </pc:sldLayoutChg>
        <pc:sldLayoutChg chg="add">
          <pc:chgData name="Baum, Kristen (STL-MOM)" userId="S::kristen.baum@momentumww.com::ba9efd3d-359d-4012-9c68-3c0424873fac" providerId="AD" clId="Web-{C1AD40DA-46B7-FBC1-B7DB-88CCB4590E3D}" dt="2023-10-30T18:58:21.606" v="0"/>
          <pc:sldLayoutMkLst>
            <pc:docMk/>
            <pc:sldMasterMk cId="3211252239" sldId="2147483690"/>
            <pc:sldLayoutMk cId="2724242476" sldId="2147483667"/>
          </pc:sldLayoutMkLst>
        </pc:sldLayoutChg>
        <pc:sldLayoutChg chg="add">
          <pc:chgData name="Baum, Kristen (STL-MOM)" userId="S::kristen.baum@momentumww.com::ba9efd3d-359d-4012-9c68-3c0424873fac" providerId="AD" clId="Web-{C1AD40DA-46B7-FBC1-B7DB-88CCB4590E3D}" dt="2023-10-30T18:58:21.606" v="0"/>
          <pc:sldLayoutMkLst>
            <pc:docMk/>
            <pc:sldMasterMk cId="3211252239" sldId="2147483690"/>
            <pc:sldLayoutMk cId="966754495" sldId="2147483668"/>
          </pc:sldLayoutMkLst>
        </pc:sldLayoutChg>
        <pc:sldLayoutChg chg="add">
          <pc:chgData name="Baum, Kristen (STL-MOM)" userId="S::kristen.baum@momentumww.com::ba9efd3d-359d-4012-9c68-3c0424873fac" providerId="AD" clId="Web-{C1AD40DA-46B7-FBC1-B7DB-88CCB4590E3D}" dt="2023-10-30T18:58:21.606" v="0"/>
          <pc:sldLayoutMkLst>
            <pc:docMk/>
            <pc:sldMasterMk cId="3211252239" sldId="2147483690"/>
            <pc:sldLayoutMk cId="2116380052" sldId="2147483669"/>
          </pc:sldLayoutMkLst>
        </pc:sldLayoutChg>
        <pc:sldLayoutChg chg="add">
          <pc:chgData name="Baum, Kristen (STL-MOM)" userId="S::kristen.baum@momentumww.com::ba9efd3d-359d-4012-9c68-3c0424873fac" providerId="AD" clId="Web-{C1AD40DA-46B7-FBC1-B7DB-88CCB4590E3D}" dt="2023-10-30T18:58:21.606" v="0"/>
          <pc:sldLayoutMkLst>
            <pc:docMk/>
            <pc:sldMasterMk cId="3211252239" sldId="2147483690"/>
            <pc:sldLayoutMk cId="1501084751" sldId="2147483670"/>
          </pc:sldLayoutMkLst>
        </pc:sldLayoutChg>
        <pc:sldLayoutChg chg="add">
          <pc:chgData name="Baum, Kristen (STL-MOM)" userId="S::kristen.baum@momentumww.com::ba9efd3d-359d-4012-9c68-3c0424873fac" providerId="AD" clId="Web-{C1AD40DA-46B7-FBC1-B7DB-88CCB4590E3D}" dt="2023-10-30T18:58:21.606" v="0"/>
          <pc:sldLayoutMkLst>
            <pc:docMk/>
            <pc:sldMasterMk cId="3211252239" sldId="2147483690"/>
            <pc:sldLayoutMk cId="395785928" sldId="2147483671"/>
          </pc:sldLayoutMkLst>
        </pc:sldLayoutChg>
        <pc:sldLayoutChg chg="add">
          <pc:chgData name="Baum, Kristen (STL-MOM)" userId="S::kristen.baum@momentumww.com::ba9efd3d-359d-4012-9c68-3c0424873fac" providerId="AD" clId="Web-{C1AD40DA-46B7-FBC1-B7DB-88CCB4590E3D}" dt="2023-10-30T18:58:21.606" v="0"/>
          <pc:sldLayoutMkLst>
            <pc:docMk/>
            <pc:sldMasterMk cId="3211252239" sldId="2147483690"/>
            <pc:sldLayoutMk cId="625428656" sldId="2147483672"/>
          </pc:sldLayoutMkLst>
        </pc:sldLayoutChg>
        <pc:sldLayoutChg chg="add">
          <pc:chgData name="Baum, Kristen (STL-MOM)" userId="S::kristen.baum@momentumww.com::ba9efd3d-359d-4012-9c68-3c0424873fac" providerId="AD" clId="Web-{C1AD40DA-46B7-FBC1-B7DB-88CCB4590E3D}" dt="2023-10-30T18:58:21.606" v="0"/>
          <pc:sldLayoutMkLst>
            <pc:docMk/>
            <pc:sldMasterMk cId="3211252239" sldId="2147483690"/>
            <pc:sldLayoutMk cId="270037409" sldId="2147483673"/>
          </pc:sldLayoutMkLst>
        </pc:sldLayoutChg>
        <pc:sldLayoutChg chg="add">
          <pc:chgData name="Baum, Kristen (STL-MOM)" userId="S::kristen.baum@momentumww.com::ba9efd3d-359d-4012-9c68-3c0424873fac" providerId="AD" clId="Web-{C1AD40DA-46B7-FBC1-B7DB-88CCB4590E3D}" dt="2023-10-30T18:58:21.606" v="0"/>
          <pc:sldLayoutMkLst>
            <pc:docMk/>
            <pc:sldMasterMk cId="3211252239" sldId="2147483690"/>
            <pc:sldLayoutMk cId="279556388" sldId="2147483674"/>
          </pc:sldLayoutMkLst>
        </pc:sldLayoutChg>
        <pc:sldLayoutChg chg="add">
          <pc:chgData name="Baum, Kristen (STL-MOM)" userId="S::kristen.baum@momentumww.com::ba9efd3d-359d-4012-9c68-3c0424873fac" providerId="AD" clId="Web-{C1AD40DA-46B7-FBC1-B7DB-88CCB4590E3D}" dt="2023-10-30T18:58:21.606" v="0"/>
          <pc:sldLayoutMkLst>
            <pc:docMk/>
            <pc:sldMasterMk cId="3211252239" sldId="2147483690"/>
            <pc:sldLayoutMk cId="1603190777" sldId="2147483675"/>
          </pc:sldLayoutMkLst>
        </pc:sldLayoutChg>
        <pc:sldLayoutChg chg="add">
          <pc:chgData name="Baum, Kristen (STL-MOM)" userId="S::kristen.baum@momentumww.com::ba9efd3d-359d-4012-9c68-3c0424873fac" providerId="AD" clId="Web-{C1AD40DA-46B7-FBC1-B7DB-88CCB4590E3D}" dt="2023-10-30T18:58:21.606" v="0"/>
          <pc:sldLayoutMkLst>
            <pc:docMk/>
            <pc:sldMasterMk cId="3211252239" sldId="2147483690"/>
            <pc:sldLayoutMk cId="878362182" sldId="2147483691"/>
          </pc:sldLayoutMkLst>
        </pc:sldLayoutChg>
      </pc:sldMasterChg>
      <pc:sldMasterChg chg="replId modSldLayout">
        <pc:chgData name="Baum, Kristen (STL-MOM)" userId="S::kristen.baum@momentumww.com::ba9efd3d-359d-4012-9c68-3c0424873fac" providerId="AD" clId="Web-{C1AD40DA-46B7-FBC1-B7DB-88CCB4590E3D}" dt="2023-10-30T18:58:21.606" v="0"/>
        <pc:sldMasterMkLst>
          <pc:docMk/>
          <pc:sldMasterMk cId="2460954070" sldId="2147483692"/>
        </pc:sldMasterMkLst>
        <pc:sldLayoutChg chg="replId">
          <pc:chgData name="Baum, Kristen (STL-MOM)" userId="S::kristen.baum@momentumww.com::ba9efd3d-359d-4012-9c68-3c0424873fac" providerId="AD" clId="Web-{C1AD40DA-46B7-FBC1-B7DB-88CCB4590E3D}" dt="2023-10-30T18:58:21.606" v="0"/>
          <pc:sldLayoutMkLst>
            <pc:docMk/>
            <pc:sldMasterMk cId="2460954070" sldId="2147483692"/>
            <pc:sldLayoutMk cId="3733172339" sldId="2147483693"/>
          </pc:sldLayoutMkLst>
        </pc:sldLayoutChg>
        <pc:sldLayoutChg chg="replId">
          <pc:chgData name="Baum, Kristen (STL-MOM)" userId="S::kristen.baum@momentumww.com::ba9efd3d-359d-4012-9c68-3c0424873fac" providerId="AD" clId="Web-{C1AD40DA-46B7-FBC1-B7DB-88CCB4590E3D}" dt="2023-10-30T18:58:21.606" v="0"/>
          <pc:sldLayoutMkLst>
            <pc:docMk/>
            <pc:sldMasterMk cId="2460954070" sldId="2147483692"/>
            <pc:sldLayoutMk cId="3146388984" sldId="2147483694"/>
          </pc:sldLayoutMkLst>
        </pc:sldLayoutChg>
        <pc:sldLayoutChg chg="replId">
          <pc:chgData name="Baum, Kristen (STL-MOM)" userId="S::kristen.baum@momentumww.com::ba9efd3d-359d-4012-9c68-3c0424873fac" providerId="AD" clId="Web-{C1AD40DA-46B7-FBC1-B7DB-88CCB4590E3D}" dt="2023-10-30T18:58:21.606" v="0"/>
          <pc:sldLayoutMkLst>
            <pc:docMk/>
            <pc:sldMasterMk cId="2460954070" sldId="2147483692"/>
            <pc:sldLayoutMk cId="2591524520" sldId="2147483695"/>
          </pc:sldLayoutMkLst>
        </pc:sldLayoutChg>
        <pc:sldLayoutChg chg="replId">
          <pc:chgData name="Baum, Kristen (STL-MOM)" userId="S::kristen.baum@momentumww.com::ba9efd3d-359d-4012-9c68-3c0424873fac" providerId="AD" clId="Web-{C1AD40DA-46B7-FBC1-B7DB-88CCB4590E3D}" dt="2023-10-30T18:58:21.606" v="0"/>
          <pc:sldLayoutMkLst>
            <pc:docMk/>
            <pc:sldMasterMk cId="2460954070" sldId="2147483692"/>
            <pc:sldLayoutMk cId="1203092039" sldId="2147483696"/>
          </pc:sldLayoutMkLst>
        </pc:sldLayoutChg>
        <pc:sldLayoutChg chg="replId">
          <pc:chgData name="Baum, Kristen (STL-MOM)" userId="S::kristen.baum@momentumww.com::ba9efd3d-359d-4012-9c68-3c0424873fac" providerId="AD" clId="Web-{C1AD40DA-46B7-FBC1-B7DB-88CCB4590E3D}" dt="2023-10-30T18:58:21.606" v="0"/>
          <pc:sldLayoutMkLst>
            <pc:docMk/>
            <pc:sldMasterMk cId="2460954070" sldId="2147483692"/>
            <pc:sldLayoutMk cId="3479445657" sldId="2147483697"/>
          </pc:sldLayoutMkLst>
        </pc:sldLayoutChg>
        <pc:sldLayoutChg chg="replId">
          <pc:chgData name="Baum, Kristen (STL-MOM)" userId="S::kristen.baum@momentumww.com::ba9efd3d-359d-4012-9c68-3c0424873fac" providerId="AD" clId="Web-{C1AD40DA-46B7-FBC1-B7DB-88CCB4590E3D}" dt="2023-10-30T18:58:21.606" v="0"/>
          <pc:sldLayoutMkLst>
            <pc:docMk/>
            <pc:sldMasterMk cId="2460954070" sldId="2147483692"/>
            <pc:sldLayoutMk cId="949138452" sldId="2147483698"/>
          </pc:sldLayoutMkLst>
        </pc:sldLayoutChg>
        <pc:sldLayoutChg chg="replId">
          <pc:chgData name="Baum, Kristen (STL-MOM)" userId="S::kristen.baum@momentumww.com::ba9efd3d-359d-4012-9c68-3c0424873fac" providerId="AD" clId="Web-{C1AD40DA-46B7-FBC1-B7DB-88CCB4590E3D}" dt="2023-10-30T18:58:21.606" v="0"/>
          <pc:sldLayoutMkLst>
            <pc:docMk/>
            <pc:sldMasterMk cId="2460954070" sldId="2147483692"/>
            <pc:sldLayoutMk cId="3171841454" sldId="2147483699"/>
          </pc:sldLayoutMkLst>
        </pc:sldLayoutChg>
        <pc:sldLayoutChg chg="replId">
          <pc:chgData name="Baum, Kristen (STL-MOM)" userId="S::kristen.baum@momentumww.com::ba9efd3d-359d-4012-9c68-3c0424873fac" providerId="AD" clId="Web-{C1AD40DA-46B7-FBC1-B7DB-88CCB4590E3D}" dt="2023-10-30T18:58:21.606" v="0"/>
          <pc:sldLayoutMkLst>
            <pc:docMk/>
            <pc:sldMasterMk cId="2460954070" sldId="2147483692"/>
            <pc:sldLayoutMk cId="1718958274" sldId="2147483700"/>
          </pc:sldLayoutMkLst>
        </pc:sldLayoutChg>
        <pc:sldLayoutChg chg="replId">
          <pc:chgData name="Baum, Kristen (STL-MOM)" userId="S::kristen.baum@momentumww.com::ba9efd3d-359d-4012-9c68-3c0424873fac" providerId="AD" clId="Web-{C1AD40DA-46B7-FBC1-B7DB-88CCB4590E3D}" dt="2023-10-30T18:58:21.606" v="0"/>
          <pc:sldLayoutMkLst>
            <pc:docMk/>
            <pc:sldMasterMk cId="2460954070" sldId="2147483692"/>
            <pc:sldLayoutMk cId="2202905451" sldId="2147483701"/>
          </pc:sldLayoutMkLst>
        </pc:sldLayoutChg>
        <pc:sldLayoutChg chg="replId">
          <pc:chgData name="Baum, Kristen (STL-MOM)" userId="S::kristen.baum@momentumww.com::ba9efd3d-359d-4012-9c68-3c0424873fac" providerId="AD" clId="Web-{C1AD40DA-46B7-FBC1-B7DB-88CCB4590E3D}" dt="2023-10-30T18:58:21.606" v="0"/>
          <pc:sldLayoutMkLst>
            <pc:docMk/>
            <pc:sldMasterMk cId="2460954070" sldId="2147483692"/>
            <pc:sldLayoutMk cId="3210312558" sldId="2147483702"/>
          </pc:sldLayoutMkLst>
        </pc:sldLayoutChg>
      </pc:sldMasterChg>
    </pc:docChg>
  </pc:docChgLst>
  <pc:docChgLst>
    <pc:chgData name="Baum, Kristen (STL-MOM)" userId="S::kristen.baum@momentumww.com::ba9efd3d-359d-4012-9c68-3c0424873fac" providerId="AD" clId="Web-{E37C67E0-F6C7-3EEE-527D-45CA65C05466}"/>
    <pc:docChg chg="modSld sldOrd">
      <pc:chgData name="Baum, Kristen (STL-MOM)" userId="S::kristen.baum@momentumww.com::ba9efd3d-359d-4012-9c68-3c0424873fac" providerId="AD" clId="Web-{E37C67E0-F6C7-3EEE-527D-45CA65C05466}" dt="2023-12-12T16:41:07.309" v="83" actId="14100"/>
      <pc:docMkLst>
        <pc:docMk/>
      </pc:docMkLst>
      <pc:sldChg chg="modSp">
        <pc:chgData name="Baum, Kristen (STL-MOM)" userId="S::kristen.baum@momentumww.com::ba9efd3d-359d-4012-9c68-3c0424873fac" providerId="AD" clId="Web-{E37C67E0-F6C7-3EEE-527D-45CA65C05466}" dt="2023-12-12T16:40:51.215" v="81" actId="20577"/>
        <pc:sldMkLst>
          <pc:docMk/>
          <pc:sldMk cId="1553938760" sldId="257"/>
        </pc:sldMkLst>
        <pc:spChg chg="mod">
          <ac:chgData name="Baum, Kristen (STL-MOM)" userId="S::kristen.baum@momentumww.com::ba9efd3d-359d-4012-9c68-3c0424873fac" providerId="AD" clId="Web-{E37C67E0-F6C7-3EEE-527D-45CA65C05466}" dt="2023-12-12T16:40:51.215" v="81" actId="20577"/>
          <ac:spMkLst>
            <pc:docMk/>
            <pc:sldMk cId="1553938760" sldId="257"/>
            <ac:spMk id="6" creationId="{EE31DF6F-F7A3-E694-F738-AC107D3A628E}"/>
          </ac:spMkLst>
        </pc:spChg>
      </pc:sldChg>
      <pc:sldChg chg="mod modShow">
        <pc:chgData name="Baum, Kristen (STL-MOM)" userId="S::kristen.baum@momentumww.com::ba9efd3d-359d-4012-9c68-3c0424873fac" providerId="AD" clId="Web-{E37C67E0-F6C7-3EEE-527D-45CA65C05466}" dt="2023-12-12T16:40:31.417" v="78"/>
        <pc:sldMkLst>
          <pc:docMk/>
          <pc:sldMk cId="1847300379" sldId="258"/>
        </pc:sldMkLst>
      </pc:sldChg>
      <pc:sldChg chg="mod modShow">
        <pc:chgData name="Baum, Kristen (STL-MOM)" userId="S::kristen.baum@momentumww.com::ba9efd3d-359d-4012-9c68-3c0424873fac" providerId="AD" clId="Web-{E37C67E0-F6C7-3EEE-527D-45CA65C05466}" dt="2023-12-12T16:40:37.933" v="79"/>
        <pc:sldMkLst>
          <pc:docMk/>
          <pc:sldMk cId="301562050" sldId="267"/>
        </pc:sldMkLst>
      </pc:sldChg>
      <pc:sldChg chg="addSp modSp">
        <pc:chgData name="Baum, Kristen (STL-MOM)" userId="S::kristen.baum@momentumww.com::ba9efd3d-359d-4012-9c68-3c0424873fac" providerId="AD" clId="Web-{E37C67E0-F6C7-3EEE-527D-45CA65C05466}" dt="2023-12-12T16:41:07.309" v="83" actId="14100"/>
        <pc:sldMkLst>
          <pc:docMk/>
          <pc:sldMk cId="4225675731" sldId="269"/>
        </pc:sldMkLst>
        <pc:spChg chg="add mod">
          <ac:chgData name="Baum, Kristen (STL-MOM)" userId="S::kristen.baum@momentumww.com::ba9efd3d-359d-4012-9c68-3c0424873fac" providerId="AD" clId="Web-{E37C67E0-F6C7-3EEE-527D-45CA65C05466}" dt="2023-12-12T16:38:11.002" v="75" actId="20577"/>
          <ac:spMkLst>
            <pc:docMk/>
            <pc:sldMk cId="4225675731" sldId="269"/>
            <ac:spMk id="5" creationId="{452E8557-B775-FC3A-6981-1C18280DBC28}"/>
          </ac:spMkLst>
        </pc:spChg>
        <pc:spChg chg="mod">
          <ac:chgData name="Baum, Kristen (STL-MOM)" userId="S::kristen.baum@momentumww.com::ba9efd3d-359d-4012-9c68-3c0424873fac" providerId="AD" clId="Web-{E37C67E0-F6C7-3EEE-527D-45CA65C05466}" dt="2023-12-12T16:35:56.713" v="4" actId="20577"/>
          <ac:spMkLst>
            <pc:docMk/>
            <pc:sldMk cId="4225675731" sldId="269"/>
            <ac:spMk id="20" creationId="{439419ED-5F27-FEFE-34EB-834A61C3AAB6}"/>
          </ac:spMkLst>
        </pc:spChg>
        <pc:picChg chg="add mod">
          <ac:chgData name="Baum, Kristen (STL-MOM)" userId="S::kristen.baum@momentumww.com::ba9efd3d-359d-4012-9c68-3c0424873fac" providerId="AD" clId="Web-{E37C67E0-F6C7-3EEE-527D-45CA65C05466}" dt="2023-12-12T16:36:51.623" v="14" actId="1076"/>
          <ac:picMkLst>
            <pc:docMk/>
            <pc:sldMk cId="4225675731" sldId="269"/>
            <ac:picMk id="3" creationId="{97C3C2CA-D859-E34A-27DA-D02D6A34231F}"/>
          </ac:picMkLst>
        </pc:picChg>
        <pc:picChg chg="mod">
          <ac:chgData name="Baum, Kristen (STL-MOM)" userId="S::kristen.baum@momentumww.com::ba9efd3d-359d-4012-9c68-3c0424873fac" providerId="AD" clId="Web-{E37C67E0-F6C7-3EEE-527D-45CA65C05466}" dt="2023-12-12T16:36:44.435" v="9" actId="1076"/>
          <ac:picMkLst>
            <pc:docMk/>
            <pc:sldMk cId="4225675731" sldId="269"/>
            <ac:picMk id="26" creationId="{5387951C-15AC-85E6-90F0-F1BEB18637C5}"/>
          </ac:picMkLst>
        </pc:picChg>
        <pc:cxnChg chg="add mod">
          <ac:chgData name="Baum, Kristen (STL-MOM)" userId="S::kristen.baum@momentumww.com::ba9efd3d-359d-4012-9c68-3c0424873fac" providerId="AD" clId="Web-{E37C67E0-F6C7-3EEE-527D-45CA65C05466}" dt="2023-12-12T16:41:07.309" v="83" actId="14100"/>
          <ac:cxnSpMkLst>
            <pc:docMk/>
            <pc:sldMk cId="4225675731" sldId="269"/>
            <ac:cxnSpMk id="7" creationId="{9B917884-5E43-60D9-EF23-A09763E844FE}"/>
          </ac:cxnSpMkLst>
        </pc:cxnChg>
      </pc:sldChg>
      <pc:sldChg chg="ord">
        <pc:chgData name="Baum, Kristen (STL-MOM)" userId="S::kristen.baum@momentumww.com::ba9efd3d-359d-4012-9c68-3c0424873fac" providerId="AD" clId="Web-{E37C67E0-F6C7-3EEE-527D-45CA65C05466}" dt="2023-12-12T16:39:10.537" v="76"/>
        <pc:sldMkLst>
          <pc:docMk/>
          <pc:sldMk cId="2704827214" sldId="2147470474"/>
        </pc:sldMkLst>
      </pc:sldChg>
      <pc:sldChg chg="modSp">
        <pc:chgData name="Baum, Kristen (STL-MOM)" userId="S::kristen.baum@momentumww.com::ba9efd3d-359d-4012-9c68-3c0424873fac" providerId="AD" clId="Web-{E37C67E0-F6C7-3EEE-527D-45CA65C05466}" dt="2023-12-12T16:39:26.882" v="77" actId="20577"/>
        <pc:sldMkLst>
          <pc:docMk/>
          <pc:sldMk cId="665136011" sldId="2147470476"/>
        </pc:sldMkLst>
        <pc:spChg chg="mod">
          <ac:chgData name="Baum, Kristen (STL-MOM)" userId="S::kristen.baum@momentumww.com::ba9efd3d-359d-4012-9c68-3c0424873fac" providerId="AD" clId="Web-{E37C67E0-F6C7-3EEE-527D-45CA65C05466}" dt="2023-12-12T16:39:26.882" v="77" actId="20577"/>
          <ac:spMkLst>
            <pc:docMk/>
            <pc:sldMk cId="665136011" sldId="2147470476"/>
            <ac:spMk id="2" creationId="{9F16D3F0-FE0D-C2B0-CE61-A70164340B6C}"/>
          </ac:spMkLst>
        </pc:spChg>
      </pc:sldChg>
    </pc:docChg>
  </pc:docChgLst>
</pc:chgInfo>
</file>

<file path=ppt/comments/modernComment_7FFFCC8D_BC75EA8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A3AA7E95-688D-443A-B305-A4A4FB565BFA}" authorId="{B012F9A7-10C5-D959-DAA8-18DABF20A4D5}" status="resolved" created="2023-04-26T20:39:41.124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4149539577" sldId="2147470348"/>
      <ac:spMk id="3" creationId="{C92E940E-FE55-D59E-9C21-3CF8A25E3506}"/>
    </ac:deMkLst>
    <p188:replyLst>
      <p188:reply id="{32473AFE-C753-4073-B7A8-C62F06BCF72C}" authorId="{481FB2E4-F256-572D-F355-6FB916164B7B}" created="2023-04-27T10:16:47.011">
        <p188:txBody>
          <a:bodyPr/>
          <a:lstStyle/>
          <a:p>
            <a:r>
              <a:rPr lang="en-GB"/>
              <a:t>[@Baum, Kristen (STL-MOM)] Added some thoughts</a:t>
            </a:r>
          </a:p>
        </p188:txBody>
      </p188:reply>
    </p188:replyLst>
    <p188:txBody>
      <a:bodyPr/>
      <a:lstStyle/>
      <a:p>
        <a:r>
          <a:rPr lang="en-US"/>
          <a:t>[@Sanderson, Steve (WW-MOM)]  or [@Wang, Yeuting (NYC-MOM)]  are there any next steps that you can add here? </a:t>
        </a:r>
      </a:p>
    </p188:txBody>
  </p188:cm>
</p188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183CF39-C5CD-4F98-90A2-A9FEA7FF4DEB}" type="doc">
      <dgm:prSet loTypeId="urn:microsoft.com/office/officeart/2005/8/layout/hList1" loCatId="list" qsTypeId="urn:microsoft.com/office/officeart/2005/8/quickstyle/simple1" qsCatId="simple" csTypeId="urn:microsoft.com/office/officeart/2005/8/colors/accent2_5" csCatId="accent2" phldr="1"/>
      <dgm:spPr/>
      <dgm:t>
        <a:bodyPr/>
        <a:lstStyle/>
        <a:p>
          <a:endParaRPr lang="en-GB"/>
        </a:p>
      </dgm:t>
    </dgm:pt>
    <dgm:pt modelId="{3FF369E4-AC07-4511-A93E-77F77EAC8799}">
      <dgm:prSet phldrT="[Text]"/>
      <dgm:spPr/>
      <dgm:t>
        <a:bodyPr/>
        <a:lstStyle/>
        <a:p>
          <a:pPr>
            <a:lnSpc>
              <a:spcPct val="150000"/>
            </a:lnSpc>
            <a:buFont typeface="Calibri"/>
            <a:buChar char="-"/>
          </a:pPr>
          <a:r>
            <a:rPr lang="en-US" b="1">
              <a:cs typeface="Arial"/>
            </a:rPr>
            <a:t>Momentum Data Discovery</a:t>
          </a:r>
          <a:endParaRPr lang="en-GB"/>
        </a:p>
      </dgm:t>
    </dgm:pt>
    <dgm:pt modelId="{513F7D0A-E986-4935-8E16-8E480E711870}" type="parTrans" cxnId="{C2047C75-7B4A-47BE-924B-EA32C9E0AC6A}">
      <dgm:prSet/>
      <dgm:spPr/>
      <dgm:t>
        <a:bodyPr/>
        <a:lstStyle/>
        <a:p>
          <a:endParaRPr lang="en-GB"/>
        </a:p>
      </dgm:t>
    </dgm:pt>
    <dgm:pt modelId="{CD323735-D181-4962-93E5-AB990E040DF4}" type="sibTrans" cxnId="{C2047C75-7B4A-47BE-924B-EA32C9E0AC6A}">
      <dgm:prSet/>
      <dgm:spPr/>
      <dgm:t>
        <a:bodyPr/>
        <a:lstStyle/>
        <a:p>
          <a:endParaRPr lang="en-GB"/>
        </a:p>
      </dgm:t>
    </dgm:pt>
    <dgm:pt modelId="{5EA190E0-D78C-4056-AD9C-316403338218}">
      <dgm:prSet custT="1"/>
      <dgm:spPr/>
      <dgm:t>
        <a:bodyPr/>
        <a:lstStyle/>
        <a:p>
          <a:pPr>
            <a:lnSpc>
              <a:spcPct val="150000"/>
            </a:lnSpc>
          </a:pPr>
          <a:r>
            <a:rPr lang="en-US" sz="1400">
              <a:cs typeface="Arial"/>
            </a:rPr>
            <a:t>Audit all data capture but the client team</a:t>
          </a:r>
        </a:p>
      </dgm:t>
    </dgm:pt>
    <dgm:pt modelId="{285907C3-97FD-47A5-8D12-B5793B9A42A3}" type="parTrans" cxnId="{AC8ADE37-C617-4DCB-95E0-D1A9017D981A}">
      <dgm:prSet/>
      <dgm:spPr/>
      <dgm:t>
        <a:bodyPr/>
        <a:lstStyle/>
        <a:p>
          <a:endParaRPr lang="en-GB"/>
        </a:p>
      </dgm:t>
    </dgm:pt>
    <dgm:pt modelId="{FD533361-42EB-4502-AEE5-4D4E3D33F05E}" type="sibTrans" cxnId="{AC8ADE37-C617-4DCB-95E0-D1A9017D981A}">
      <dgm:prSet/>
      <dgm:spPr/>
      <dgm:t>
        <a:bodyPr/>
        <a:lstStyle/>
        <a:p>
          <a:endParaRPr lang="en-GB"/>
        </a:p>
      </dgm:t>
    </dgm:pt>
    <dgm:pt modelId="{C497C68E-25AA-42C3-8999-68CAB7888E51}">
      <dgm:prSet custT="1"/>
      <dgm:spPr/>
      <dgm:t>
        <a:bodyPr/>
        <a:lstStyle/>
        <a:p>
          <a:pPr>
            <a:lnSpc>
              <a:spcPct val="150000"/>
            </a:lnSpc>
          </a:pPr>
          <a:r>
            <a:rPr lang="en-US" sz="1400" i="1">
              <a:cs typeface="Arial"/>
            </a:rPr>
            <a:t>What do we have? </a:t>
          </a:r>
        </a:p>
      </dgm:t>
    </dgm:pt>
    <dgm:pt modelId="{0FE4D213-0B6B-435E-B7CD-CB6C1B591217}" type="parTrans" cxnId="{D12A63A7-6689-42D1-A2D8-41FEB1901540}">
      <dgm:prSet/>
      <dgm:spPr/>
      <dgm:t>
        <a:bodyPr/>
        <a:lstStyle/>
        <a:p>
          <a:endParaRPr lang="en-GB"/>
        </a:p>
      </dgm:t>
    </dgm:pt>
    <dgm:pt modelId="{B1CD778F-BDB9-4A37-A549-29826E03106C}" type="sibTrans" cxnId="{D12A63A7-6689-42D1-A2D8-41FEB1901540}">
      <dgm:prSet/>
      <dgm:spPr/>
      <dgm:t>
        <a:bodyPr/>
        <a:lstStyle/>
        <a:p>
          <a:endParaRPr lang="en-GB"/>
        </a:p>
      </dgm:t>
    </dgm:pt>
    <dgm:pt modelId="{1928EAFD-621B-41DD-8F9F-593A90141DAC}">
      <dgm:prSet custT="1"/>
      <dgm:spPr/>
      <dgm:t>
        <a:bodyPr/>
        <a:lstStyle/>
        <a:p>
          <a:pPr>
            <a:lnSpc>
              <a:spcPct val="150000"/>
            </a:lnSpc>
          </a:pPr>
          <a:r>
            <a:rPr lang="en-US" sz="1400" i="1">
              <a:cs typeface="Arial"/>
            </a:rPr>
            <a:t>What is the source? </a:t>
          </a:r>
        </a:p>
      </dgm:t>
    </dgm:pt>
    <dgm:pt modelId="{D7EB0B28-A03B-463E-856C-AFE8E909F51E}" type="parTrans" cxnId="{489EAAD2-2AD8-44CB-ABF1-034AB02E4ABC}">
      <dgm:prSet/>
      <dgm:spPr/>
      <dgm:t>
        <a:bodyPr/>
        <a:lstStyle/>
        <a:p>
          <a:endParaRPr lang="en-GB"/>
        </a:p>
      </dgm:t>
    </dgm:pt>
    <dgm:pt modelId="{2EA24A5A-4D95-48F9-A1B8-2090D9CBCB7D}" type="sibTrans" cxnId="{489EAAD2-2AD8-44CB-ABF1-034AB02E4ABC}">
      <dgm:prSet/>
      <dgm:spPr/>
      <dgm:t>
        <a:bodyPr/>
        <a:lstStyle/>
        <a:p>
          <a:endParaRPr lang="en-GB"/>
        </a:p>
      </dgm:t>
    </dgm:pt>
    <dgm:pt modelId="{E55A60FE-7448-4E0E-92AE-0CCF7AC00673}">
      <dgm:prSet custT="1"/>
      <dgm:spPr/>
      <dgm:t>
        <a:bodyPr/>
        <a:lstStyle/>
        <a:p>
          <a:pPr>
            <a:lnSpc>
              <a:spcPct val="150000"/>
            </a:lnSpc>
          </a:pPr>
          <a:r>
            <a:rPr lang="en-US" sz="1400" i="1">
              <a:cs typeface="Arial"/>
            </a:rPr>
            <a:t>What is the cadence? </a:t>
          </a:r>
        </a:p>
      </dgm:t>
    </dgm:pt>
    <dgm:pt modelId="{7E5F26C9-C5AE-493D-AFC2-2CED9D969B71}" type="parTrans" cxnId="{5A73EF0E-73F2-4A7B-8A26-A50F127EEEBB}">
      <dgm:prSet/>
      <dgm:spPr/>
      <dgm:t>
        <a:bodyPr/>
        <a:lstStyle/>
        <a:p>
          <a:endParaRPr lang="en-GB"/>
        </a:p>
      </dgm:t>
    </dgm:pt>
    <dgm:pt modelId="{2EED5F8C-4DF8-4454-BB44-0B9497A81084}" type="sibTrans" cxnId="{5A73EF0E-73F2-4A7B-8A26-A50F127EEEBB}">
      <dgm:prSet/>
      <dgm:spPr/>
      <dgm:t>
        <a:bodyPr/>
        <a:lstStyle/>
        <a:p>
          <a:endParaRPr lang="en-GB"/>
        </a:p>
      </dgm:t>
    </dgm:pt>
    <dgm:pt modelId="{CB3D9CDF-C131-442D-B67E-AB5C1D1F5BD1}">
      <dgm:prSet custT="1"/>
      <dgm:spPr/>
      <dgm:t>
        <a:bodyPr/>
        <a:lstStyle/>
        <a:p>
          <a:pPr>
            <a:lnSpc>
              <a:spcPct val="150000"/>
            </a:lnSpc>
          </a:pPr>
          <a:r>
            <a:rPr lang="en-US" sz="1400" i="1">
              <a:cs typeface="Arial"/>
            </a:rPr>
            <a:t>What is captured manually by a field team?</a:t>
          </a:r>
        </a:p>
      </dgm:t>
    </dgm:pt>
    <dgm:pt modelId="{5DF7DA63-2055-495F-B7E4-522142983592}" type="parTrans" cxnId="{19BAA179-57C4-4ADD-A14E-F0D8C77F986C}">
      <dgm:prSet/>
      <dgm:spPr/>
      <dgm:t>
        <a:bodyPr/>
        <a:lstStyle/>
        <a:p>
          <a:endParaRPr lang="en-GB"/>
        </a:p>
      </dgm:t>
    </dgm:pt>
    <dgm:pt modelId="{A3313BAB-E4B4-4A9E-983A-F91BB36BEA27}" type="sibTrans" cxnId="{19BAA179-57C4-4ADD-A14E-F0D8C77F986C}">
      <dgm:prSet/>
      <dgm:spPr/>
      <dgm:t>
        <a:bodyPr/>
        <a:lstStyle/>
        <a:p>
          <a:endParaRPr lang="en-GB"/>
        </a:p>
      </dgm:t>
    </dgm:pt>
    <dgm:pt modelId="{E4BBDE64-2D3A-4A36-9742-CF9F2E6FB7D2}">
      <dgm:prSet/>
      <dgm:spPr/>
      <dgm:t>
        <a:bodyPr/>
        <a:lstStyle/>
        <a:p>
          <a:pPr>
            <a:lnSpc>
              <a:spcPct val="150000"/>
            </a:lnSpc>
          </a:pPr>
          <a:endParaRPr lang="en-US" sz="2000">
            <a:cs typeface="Arial"/>
          </a:endParaRPr>
        </a:p>
      </dgm:t>
    </dgm:pt>
    <dgm:pt modelId="{606226D9-F23F-46E9-B18B-3D23644AD611}" type="parTrans" cxnId="{C0F02AA6-F14F-4F4D-8F0D-BF16D12D5441}">
      <dgm:prSet/>
      <dgm:spPr/>
      <dgm:t>
        <a:bodyPr/>
        <a:lstStyle/>
        <a:p>
          <a:endParaRPr lang="en-GB"/>
        </a:p>
      </dgm:t>
    </dgm:pt>
    <dgm:pt modelId="{8E412BE1-E260-4AE2-8D7E-4EB20FD0A4AC}" type="sibTrans" cxnId="{C0F02AA6-F14F-4F4D-8F0D-BF16D12D5441}">
      <dgm:prSet/>
      <dgm:spPr/>
      <dgm:t>
        <a:bodyPr/>
        <a:lstStyle/>
        <a:p>
          <a:endParaRPr lang="en-GB"/>
        </a:p>
      </dgm:t>
    </dgm:pt>
    <dgm:pt modelId="{4081BEA9-7605-480C-B8B8-28BD4A0F9E56}">
      <dgm:prSet/>
      <dgm:spPr/>
      <dgm:t>
        <a:bodyPr/>
        <a:lstStyle/>
        <a:p>
          <a:pPr>
            <a:lnSpc>
              <a:spcPct val="150000"/>
            </a:lnSpc>
          </a:pPr>
          <a:r>
            <a:rPr lang="en-US" b="1">
              <a:cs typeface="Arial"/>
            </a:rPr>
            <a:t>Technical Discovery UED</a:t>
          </a:r>
        </a:p>
      </dgm:t>
    </dgm:pt>
    <dgm:pt modelId="{D4EA80BE-2EF2-4753-BC5D-9331D7C20DCE}" type="parTrans" cxnId="{0B45F803-1408-4991-AE7C-FDC13BBE8E79}">
      <dgm:prSet/>
      <dgm:spPr/>
      <dgm:t>
        <a:bodyPr/>
        <a:lstStyle/>
        <a:p>
          <a:endParaRPr lang="en-GB"/>
        </a:p>
      </dgm:t>
    </dgm:pt>
    <dgm:pt modelId="{9F0DF8E4-1AF5-4AFF-8DA9-022B0421B972}" type="sibTrans" cxnId="{0B45F803-1408-4991-AE7C-FDC13BBE8E79}">
      <dgm:prSet/>
      <dgm:spPr/>
      <dgm:t>
        <a:bodyPr/>
        <a:lstStyle/>
        <a:p>
          <a:endParaRPr lang="en-GB"/>
        </a:p>
      </dgm:t>
    </dgm:pt>
    <dgm:pt modelId="{41964B76-E34B-4D6F-8C5F-5F310163E706}">
      <dgm:prSet custT="1"/>
      <dgm:spPr/>
      <dgm:t>
        <a:bodyPr/>
        <a:lstStyle/>
        <a:p>
          <a:pPr>
            <a:lnSpc>
              <a:spcPct val="150000"/>
            </a:lnSpc>
          </a:pPr>
          <a:r>
            <a:rPr lang="en-US" sz="1400">
              <a:cs typeface="Arial"/>
            </a:rPr>
            <a:t>Detailed requirements document</a:t>
          </a:r>
        </a:p>
      </dgm:t>
    </dgm:pt>
    <dgm:pt modelId="{C8020FF9-A8BC-484D-880E-6F0F5397682A}" type="parTrans" cxnId="{A0147313-A024-46D0-844D-30E01B945054}">
      <dgm:prSet/>
      <dgm:spPr/>
      <dgm:t>
        <a:bodyPr/>
        <a:lstStyle/>
        <a:p>
          <a:endParaRPr lang="en-GB"/>
        </a:p>
      </dgm:t>
    </dgm:pt>
    <dgm:pt modelId="{A9A54E7B-DCC2-45F3-A5E1-ECB769096419}" type="sibTrans" cxnId="{A0147313-A024-46D0-844D-30E01B945054}">
      <dgm:prSet/>
      <dgm:spPr/>
      <dgm:t>
        <a:bodyPr/>
        <a:lstStyle/>
        <a:p>
          <a:endParaRPr lang="en-GB"/>
        </a:p>
      </dgm:t>
    </dgm:pt>
    <dgm:pt modelId="{F41EBEE8-64AD-4B37-A69B-9AFB90DEF33B}">
      <dgm:prSet custT="1"/>
      <dgm:spPr/>
      <dgm:t>
        <a:bodyPr/>
        <a:lstStyle/>
        <a:p>
          <a:pPr>
            <a:lnSpc>
              <a:spcPct val="150000"/>
            </a:lnSpc>
          </a:pPr>
          <a:r>
            <a:rPr lang="en-US" sz="1400">
              <a:cs typeface="Arial"/>
            </a:rPr>
            <a:t>High-level solution architecture</a:t>
          </a:r>
        </a:p>
      </dgm:t>
    </dgm:pt>
    <dgm:pt modelId="{8DD6EB09-273D-4C4E-940A-FF85C9AAF63F}" type="parTrans" cxnId="{67448168-1088-45A4-A05B-D18E1BE85907}">
      <dgm:prSet/>
      <dgm:spPr/>
      <dgm:t>
        <a:bodyPr/>
        <a:lstStyle/>
        <a:p>
          <a:endParaRPr lang="en-GB"/>
        </a:p>
      </dgm:t>
    </dgm:pt>
    <dgm:pt modelId="{8EDEE2CC-1EEF-4D84-AE37-B8C75F5E5307}" type="sibTrans" cxnId="{67448168-1088-45A4-A05B-D18E1BE85907}">
      <dgm:prSet/>
      <dgm:spPr/>
      <dgm:t>
        <a:bodyPr/>
        <a:lstStyle/>
        <a:p>
          <a:endParaRPr lang="en-GB"/>
        </a:p>
      </dgm:t>
    </dgm:pt>
    <dgm:pt modelId="{FE7B0D46-6BB3-4A22-B2FA-C13E63B7DEF9}">
      <dgm:prSet custT="1"/>
      <dgm:spPr/>
      <dgm:t>
        <a:bodyPr/>
        <a:lstStyle/>
        <a:p>
          <a:pPr>
            <a:lnSpc>
              <a:spcPct val="150000"/>
            </a:lnSpc>
          </a:pPr>
          <a:r>
            <a:rPr lang="en-US" sz="1400">
              <a:cs typeface="Arial"/>
            </a:rPr>
            <a:t>API definitions</a:t>
          </a:r>
        </a:p>
      </dgm:t>
    </dgm:pt>
    <dgm:pt modelId="{637CFAD7-0407-44E9-9594-F47A76DC7422}" type="parTrans" cxnId="{C14DF13C-E398-41CB-8A79-08011C818554}">
      <dgm:prSet/>
      <dgm:spPr/>
      <dgm:t>
        <a:bodyPr/>
        <a:lstStyle/>
        <a:p>
          <a:endParaRPr lang="en-GB"/>
        </a:p>
      </dgm:t>
    </dgm:pt>
    <dgm:pt modelId="{8642C245-B321-4945-877C-D73B76C20847}" type="sibTrans" cxnId="{C14DF13C-E398-41CB-8A79-08011C818554}">
      <dgm:prSet/>
      <dgm:spPr/>
      <dgm:t>
        <a:bodyPr/>
        <a:lstStyle/>
        <a:p>
          <a:endParaRPr lang="en-GB"/>
        </a:p>
      </dgm:t>
    </dgm:pt>
    <dgm:pt modelId="{FAE806D2-F298-47BC-9284-E829D3E1646D}">
      <dgm:prSet custT="1"/>
      <dgm:spPr/>
      <dgm:t>
        <a:bodyPr/>
        <a:lstStyle/>
        <a:p>
          <a:pPr>
            <a:lnSpc>
              <a:spcPct val="150000"/>
            </a:lnSpc>
          </a:pPr>
          <a:r>
            <a:rPr lang="en-US" sz="1400">
              <a:cs typeface="Arial"/>
            </a:rPr>
            <a:t>DB design</a:t>
          </a:r>
        </a:p>
      </dgm:t>
    </dgm:pt>
    <dgm:pt modelId="{82EDCFC3-B5E8-4FAF-A3D1-67BB536D5252}" type="parTrans" cxnId="{483D188A-979F-4141-8A9F-A27113B0D95F}">
      <dgm:prSet/>
      <dgm:spPr/>
      <dgm:t>
        <a:bodyPr/>
        <a:lstStyle/>
        <a:p>
          <a:endParaRPr lang="en-GB"/>
        </a:p>
      </dgm:t>
    </dgm:pt>
    <dgm:pt modelId="{E4B2753A-B176-42BF-8A05-79923D0D6403}" type="sibTrans" cxnId="{483D188A-979F-4141-8A9F-A27113B0D95F}">
      <dgm:prSet/>
      <dgm:spPr/>
      <dgm:t>
        <a:bodyPr/>
        <a:lstStyle/>
        <a:p>
          <a:endParaRPr lang="en-GB"/>
        </a:p>
      </dgm:t>
    </dgm:pt>
    <dgm:pt modelId="{A1205DD6-7451-4367-9432-8C5EC22A3B1D}">
      <dgm:prSet custT="1"/>
      <dgm:spPr/>
      <dgm:t>
        <a:bodyPr/>
        <a:lstStyle/>
        <a:p>
          <a:pPr>
            <a:lnSpc>
              <a:spcPct val="150000"/>
            </a:lnSpc>
          </a:pPr>
          <a:r>
            <a:rPr lang="en-US" sz="1400">
              <a:cs typeface="Arial"/>
            </a:rPr>
            <a:t>Front-end Mockup</a:t>
          </a:r>
          <a:br>
            <a:rPr lang="en-US" sz="2000">
              <a:cs typeface="Arial"/>
            </a:rPr>
          </a:br>
          <a:endParaRPr lang="en-US" sz="2000"/>
        </a:p>
      </dgm:t>
    </dgm:pt>
    <dgm:pt modelId="{561AA78A-3A09-4097-9BEF-9307EFD07D93}" type="parTrans" cxnId="{83E68977-3A2A-4DC8-B3C7-E7DC9D365469}">
      <dgm:prSet/>
      <dgm:spPr/>
      <dgm:t>
        <a:bodyPr/>
        <a:lstStyle/>
        <a:p>
          <a:endParaRPr lang="en-GB"/>
        </a:p>
      </dgm:t>
    </dgm:pt>
    <dgm:pt modelId="{76A60A05-0FC8-439B-BE6C-037D5C261225}" type="sibTrans" cxnId="{83E68977-3A2A-4DC8-B3C7-E7DC9D365469}">
      <dgm:prSet/>
      <dgm:spPr/>
      <dgm:t>
        <a:bodyPr/>
        <a:lstStyle/>
        <a:p>
          <a:endParaRPr lang="en-GB"/>
        </a:p>
      </dgm:t>
    </dgm:pt>
    <dgm:pt modelId="{5D91B453-9930-4BE4-8577-4124BA5B7531}">
      <dgm:prSet/>
      <dgm:spPr/>
      <dgm:t>
        <a:bodyPr/>
        <a:lstStyle/>
        <a:p>
          <a:pPr>
            <a:lnSpc>
              <a:spcPct val="150000"/>
            </a:lnSpc>
          </a:pPr>
          <a:r>
            <a:rPr lang="en-US" b="1">
              <a:cs typeface="Arial"/>
            </a:rPr>
            <a:t>Field Management: </a:t>
          </a:r>
          <a:r>
            <a:rPr lang="en-US" b="1" err="1">
              <a:cs typeface="Arial"/>
            </a:rPr>
            <a:t>BrandScopic</a:t>
          </a:r>
          <a:endParaRPr lang="en-US" b="1">
            <a:cs typeface="Arial"/>
          </a:endParaRPr>
        </a:p>
      </dgm:t>
    </dgm:pt>
    <dgm:pt modelId="{7BAAA704-9B2C-4BB3-950C-84EE96C22B9C}" type="parTrans" cxnId="{826BC78D-537B-47C0-A7E6-B191D55E6C20}">
      <dgm:prSet/>
      <dgm:spPr/>
      <dgm:t>
        <a:bodyPr/>
        <a:lstStyle/>
        <a:p>
          <a:endParaRPr lang="en-GB"/>
        </a:p>
      </dgm:t>
    </dgm:pt>
    <dgm:pt modelId="{E21DEACA-BC14-415D-900B-86469E718613}" type="sibTrans" cxnId="{826BC78D-537B-47C0-A7E6-B191D55E6C20}">
      <dgm:prSet/>
      <dgm:spPr/>
      <dgm:t>
        <a:bodyPr/>
        <a:lstStyle/>
        <a:p>
          <a:endParaRPr lang="en-GB"/>
        </a:p>
      </dgm:t>
    </dgm:pt>
    <dgm:pt modelId="{14D14315-809B-40D6-AE5F-091A48BCB0E6}">
      <dgm:prSet custT="1"/>
      <dgm:spPr/>
      <dgm:t>
        <a:bodyPr/>
        <a:lstStyle/>
        <a:p>
          <a:pPr>
            <a:lnSpc>
              <a:spcPct val="150000"/>
            </a:lnSpc>
          </a:pPr>
          <a:r>
            <a:rPr lang="en-US" sz="1400">
              <a:cs typeface="Arial"/>
            </a:rPr>
            <a:t>Vendor Set Up, security &amp; sign SOW</a:t>
          </a:r>
        </a:p>
      </dgm:t>
    </dgm:pt>
    <dgm:pt modelId="{68E49C5F-8B11-49DB-9C3E-CF5DBB67BCC7}" type="parTrans" cxnId="{A219C91B-35DF-4EB3-B497-C867884AA788}">
      <dgm:prSet/>
      <dgm:spPr/>
      <dgm:t>
        <a:bodyPr/>
        <a:lstStyle/>
        <a:p>
          <a:endParaRPr lang="en-GB"/>
        </a:p>
      </dgm:t>
    </dgm:pt>
    <dgm:pt modelId="{CDD4D6FF-919E-42B8-B6B0-0A361D197733}" type="sibTrans" cxnId="{A219C91B-35DF-4EB3-B497-C867884AA788}">
      <dgm:prSet/>
      <dgm:spPr/>
      <dgm:t>
        <a:bodyPr/>
        <a:lstStyle/>
        <a:p>
          <a:endParaRPr lang="en-GB"/>
        </a:p>
      </dgm:t>
    </dgm:pt>
    <dgm:pt modelId="{C3242C99-50C7-4788-BAA2-B8F88F27699B}">
      <dgm:prSet custT="1"/>
      <dgm:spPr/>
      <dgm:t>
        <a:bodyPr/>
        <a:lstStyle/>
        <a:p>
          <a:pPr>
            <a:lnSpc>
              <a:spcPct val="150000"/>
            </a:lnSpc>
          </a:pPr>
          <a:r>
            <a:rPr lang="en-US" sz="1400">
              <a:cs typeface="Arial"/>
            </a:rPr>
            <a:t>Design a deployment plan</a:t>
          </a:r>
        </a:p>
      </dgm:t>
    </dgm:pt>
    <dgm:pt modelId="{5A99646F-9ED6-447B-B160-F4A56E0CF23A}" type="parTrans" cxnId="{20D6D33F-C026-4547-B135-0A01D33A2EFC}">
      <dgm:prSet/>
      <dgm:spPr/>
      <dgm:t>
        <a:bodyPr/>
        <a:lstStyle/>
        <a:p>
          <a:endParaRPr lang="en-GB"/>
        </a:p>
      </dgm:t>
    </dgm:pt>
    <dgm:pt modelId="{664E3936-3D39-4B98-B3FA-5CA822888540}" type="sibTrans" cxnId="{20D6D33F-C026-4547-B135-0A01D33A2EFC}">
      <dgm:prSet/>
      <dgm:spPr/>
      <dgm:t>
        <a:bodyPr/>
        <a:lstStyle/>
        <a:p>
          <a:endParaRPr lang="en-GB"/>
        </a:p>
      </dgm:t>
    </dgm:pt>
    <dgm:pt modelId="{E71BA93B-0744-48AA-BFE9-3F6C1B08D76E}">
      <dgm:prSet custT="1"/>
      <dgm:spPr/>
      <dgm:t>
        <a:bodyPr/>
        <a:lstStyle/>
        <a:p>
          <a:pPr>
            <a:lnSpc>
              <a:spcPct val="150000"/>
            </a:lnSpc>
          </a:pPr>
          <a:r>
            <a:rPr lang="en-US" sz="1400">
              <a:cs typeface="Arial"/>
            </a:rPr>
            <a:t>Process and training material</a:t>
          </a:r>
        </a:p>
      </dgm:t>
    </dgm:pt>
    <dgm:pt modelId="{CC461BCF-22C2-4725-B25C-42D4D426EE08}" type="parTrans" cxnId="{165C3B11-B2E3-4350-BD13-9C0963870317}">
      <dgm:prSet/>
      <dgm:spPr/>
      <dgm:t>
        <a:bodyPr/>
        <a:lstStyle/>
        <a:p>
          <a:endParaRPr lang="en-GB"/>
        </a:p>
      </dgm:t>
    </dgm:pt>
    <dgm:pt modelId="{CC31C1D2-B08B-42DA-8417-851AEFF568C7}" type="sibTrans" cxnId="{165C3B11-B2E3-4350-BD13-9C0963870317}">
      <dgm:prSet/>
      <dgm:spPr/>
      <dgm:t>
        <a:bodyPr/>
        <a:lstStyle/>
        <a:p>
          <a:endParaRPr lang="en-GB"/>
        </a:p>
      </dgm:t>
    </dgm:pt>
    <dgm:pt modelId="{E4DFDA1F-06EF-409D-A8C8-C6A453DA6FE8}">
      <dgm:prSet custT="1"/>
      <dgm:spPr/>
      <dgm:t>
        <a:bodyPr/>
        <a:lstStyle/>
        <a:p>
          <a:pPr>
            <a:lnSpc>
              <a:spcPct val="150000"/>
            </a:lnSpc>
          </a:pPr>
          <a:r>
            <a:rPr lang="en-US" sz="1400">
              <a:cs typeface="Arial"/>
            </a:rPr>
            <a:t>Load test use case</a:t>
          </a:r>
          <a:endParaRPr lang="en-US" sz="2000">
            <a:cs typeface="Arial"/>
          </a:endParaRPr>
        </a:p>
      </dgm:t>
    </dgm:pt>
    <dgm:pt modelId="{7E6283FE-0C00-494B-8D61-4D5B7078E2D4}" type="parTrans" cxnId="{F9B1A27C-D1A2-45B1-8BBC-DDE4BC2536CC}">
      <dgm:prSet/>
      <dgm:spPr/>
      <dgm:t>
        <a:bodyPr/>
        <a:lstStyle/>
        <a:p>
          <a:endParaRPr lang="en-GB"/>
        </a:p>
      </dgm:t>
    </dgm:pt>
    <dgm:pt modelId="{BB6B02F3-26EA-4FBB-B73B-333CFF7EECA0}" type="sibTrans" cxnId="{F9B1A27C-D1A2-45B1-8BBC-DDE4BC2536CC}">
      <dgm:prSet/>
      <dgm:spPr/>
      <dgm:t>
        <a:bodyPr/>
        <a:lstStyle/>
        <a:p>
          <a:endParaRPr lang="en-GB"/>
        </a:p>
      </dgm:t>
    </dgm:pt>
    <dgm:pt modelId="{273D4A53-FD20-4CE6-B4E9-A69A77DF5818}">
      <dgm:prSet/>
      <dgm:spPr/>
      <dgm:t>
        <a:bodyPr/>
        <a:lstStyle/>
        <a:p>
          <a:pPr>
            <a:lnSpc>
              <a:spcPct val="150000"/>
            </a:lnSpc>
          </a:pPr>
          <a:r>
            <a:rPr lang="en-US" b="1">
              <a:cs typeface="Arial"/>
            </a:rPr>
            <a:t>Placer POC</a:t>
          </a:r>
        </a:p>
      </dgm:t>
    </dgm:pt>
    <dgm:pt modelId="{7BB346C9-DF8E-41A0-A88F-CE3557882FAB}" type="parTrans" cxnId="{310DB6A9-8CB7-492F-8D58-85090AB582F2}">
      <dgm:prSet/>
      <dgm:spPr/>
      <dgm:t>
        <a:bodyPr/>
        <a:lstStyle/>
        <a:p>
          <a:endParaRPr lang="en-GB"/>
        </a:p>
      </dgm:t>
    </dgm:pt>
    <dgm:pt modelId="{451EADCE-3048-4B20-8653-BE5BE4315441}" type="sibTrans" cxnId="{310DB6A9-8CB7-492F-8D58-85090AB582F2}">
      <dgm:prSet/>
      <dgm:spPr/>
      <dgm:t>
        <a:bodyPr/>
        <a:lstStyle/>
        <a:p>
          <a:endParaRPr lang="en-GB"/>
        </a:p>
      </dgm:t>
    </dgm:pt>
    <dgm:pt modelId="{CBADCF36-8786-4B19-8AA2-5728662563BB}">
      <dgm:prSet custT="1"/>
      <dgm:spPr/>
      <dgm:t>
        <a:bodyPr/>
        <a:lstStyle/>
        <a:p>
          <a:pPr>
            <a:lnSpc>
              <a:spcPct val="150000"/>
            </a:lnSpc>
          </a:pPr>
          <a:r>
            <a:rPr lang="en-US" sz="1400">
              <a:cs typeface="Arial"/>
            </a:rPr>
            <a:t>Data extraction</a:t>
          </a:r>
        </a:p>
      </dgm:t>
    </dgm:pt>
    <dgm:pt modelId="{8D99A0B4-16EF-446F-9DFB-AACB1507CBC0}" type="parTrans" cxnId="{3E1EC0E5-23C0-4297-B48C-F38725AB15CF}">
      <dgm:prSet/>
      <dgm:spPr/>
      <dgm:t>
        <a:bodyPr/>
        <a:lstStyle/>
        <a:p>
          <a:endParaRPr lang="en-GB"/>
        </a:p>
      </dgm:t>
    </dgm:pt>
    <dgm:pt modelId="{FD59209D-F7BD-4A48-B664-20C63650EA65}" type="sibTrans" cxnId="{3E1EC0E5-23C0-4297-B48C-F38725AB15CF}">
      <dgm:prSet/>
      <dgm:spPr/>
      <dgm:t>
        <a:bodyPr/>
        <a:lstStyle/>
        <a:p>
          <a:endParaRPr lang="en-GB"/>
        </a:p>
      </dgm:t>
    </dgm:pt>
    <dgm:pt modelId="{A5D2F73E-D682-4E59-ABDD-FB32BEA94D37}">
      <dgm:prSet custT="1"/>
      <dgm:spPr/>
      <dgm:t>
        <a:bodyPr/>
        <a:lstStyle/>
        <a:p>
          <a:pPr>
            <a:lnSpc>
              <a:spcPct val="150000"/>
            </a:lnSpc>
          </a:pPr>
          <a:r>
            <a:rPr lang="en-US" sz="1400">
              <a:cs typeface="Arial"/>
            </a:rPr>
            <a:t>API design calculating the number of calls</a:t>
          </a:r>
        </a:p>
      </dgm:t>
    </dgm:pt>
    <dgm:pt modelId="{B0221F58-42FB-4D81-A23A-4D267EA46108}" type="parTrans" cxnId="{1B89CE5C-0076-4AF3-85EE-674DC6661B16}">
      <dgm:prSet/>
      <dgm:spPr/>
      <dgm:t>
        <a:bodyPr/>
        <a:lstStyle/>
        <a:p>
          <a:endParaRPr lang="en-GB"/>
        </a:p>
      </dgm:t>
    </dgm:pt>
    <dgm:pt modelId="{676C57C7-3FED-4895-BAC8-EE7F64F41A80}" type="sibTrans" cxnId="{1B89CE5C-0076-4AF3-85EE-674DC6661B16}">
      <dgm:prSet/>
      <dgm:spPr/>
      <dgm:t>
        <a:bodyPr/>
        <a:lstStyle/>
        <a:p>
          <a:endParaRPr lang="en-GB"/>
        </a:p>
      </dgm:t>
    </dgm:pt>
    <dgm:pt modelId="{8D93C469-027D-4248-A5D8-4A5F5ABBFC13}">
      <dgm:prSet custT="1"/>
      <dgm:spPr/>
      <dgm:t>
        <a:bodyPr/>
        <a:lstStyle/>
        <a:p>
          <a:pPr>
            <a:lnSpc>
              <a:spcPct val="150000"/>
            </a:lnSpc>
          </a:pPr>
          <a:r>
            <a:rPr lang="en-US" sz="1400">
              <a:cs typeface="Arial"/>
            </a:rPr>
            <a:t>Document insights gathered</a:t>
          </a:r>
        </a:p>
      </dgm:t>
    </dgm:pt>
    <dgm:pt modelId="{580A0447-6D1C-47B1-B3D9-0BE5A367933C}" type="parTrans" cxnId="{9811E906-915A-4A7B-BC0E-403B2446C72F}">
      <dgm:prSet/>
      <dgm:spPr/>
      <dgm:t>
        <a:bodyPr/>
        <a:lstStyle/>
        <a:p>
          <a:endParaRPr lang="en-GB"/>
        </a:p>
      </dgm:t>
    </dgm:pt>
    <dgm:pt modelId="{F4A21ABF-57E2-445F-9CE8-CBBB956F9949}" type="sibTrans" cxnId="{9811E906-915A-4A7B-BC0E-403B2446C72F}">
      <dgm:prSet/>
      <dgm:spPr/>
      <dgm:t>
        <a:bodyPr/>
        <a:lstStyle/>
        <a:p>
          <a:endParaRPr lang="en-GB"/>
        </a:p>
      </dgm:t>
    </dgm:pt>
    <dgm:pt modelId="{C44269AD-7D31-4D6A-AB7C-769A31C25130}">
      <dgm:prSet/>
      <dgm:spPr/>
      <dgm:t>
        <a:bodyPr/>
        <a:lstStyle/>
        <a:p>
          <a:pPr>
            <a:lnSpc>
              <a:spcPct val="150000"/>
            </a:lnSpc>
          </a:pPr>
          <a:endParaRPr lang="en-US" sz="2000">
            <a:cs typeface="Arial"/>
          </a:endParaRPr>
        </a:p>
      </dgm:t>
    </dgm:pt>
    <dgm:pt modelId="{6F9AF07B-353C-4CF3-8F81-2212F494A071}" type="parTrans" cxnId="{AC3A3AF7-5A0B-4FC8-8A67-D5AAA39B7B21}">
      <dgm:prSet/>
      <dgm:spPr/>
      <dgm:t>
        <a:bodyPr/>
        <a:lstStyle/>
        <a:p>
          <a:endParaRPr lang="en-GB"/>
        </a:p>
      </dgm:t>
    </dgm:pt>
    <dgm:pt modelId="{F6BD0D93-7CB2-49A9-A598-4F80CD85794B}" type="sibTrans" cxnId="{AC3A3AF7-5A0B-4FC8-8A67-D5AAA39B7B21}">
      <dgm:prSet/>
      <dgm:spPr/>
      <dgm:t>
        <a:bodyPr/>
        <a:lstStyle/>
        <a:p>
          <a:endParaRPr lang="en-GB"/>
        </a:p>
      </dgm:t>
    </dgm:pt>
    <dgm:pt modelId="{0CE13F5C-18D2-422E-9DB8-B8C6803AAC7B}" type="pres">
      <dgm:prSet presAssocID="{0183CF39-C5CD-4F98-90A2-A9FEA7FF4DEB}" presName="Name0" presStyleCnt="0">
        <dgm:presLayoutVars>
          <dgm:dir/>
          <dgm:animLvl val="lvl"/>
          <dgm:resizeHandles val="exact"/>
        </dgm:presLayoutVars>
      </dgm:prSet>
      <dgm:spPr/>
    </dgm:pt>
    <dgm:pt modelId="{1CD6E8E8-3746-40BA-8004-5CD196B07D5D}" type="pres">
      <dgm:prSet presAssocID="{3FF369E4-AC07-4511-A93E-77F77EAC8799}" presName="composite" presStyleCnt="0"/>
      <dgm:spPr/>
    </dgm:pt>
    <dgm:pt modelId="{D57EE8F2-7574-4E5E-B95E-F06A144BFAEC}" type="pres">
      <dgm:prSet presAssocID="{3FF369E4-AC07-4511-A93E-77F77EAC8799}" presName="parTx" presStyleLbl="alignNode1" presStyleIdx="0" presStyleCnt="4">
        <dgm:presLayoutVars>
          <dgm:chMax val="0"/>
          <dgm:chPref val="0"/>
          <dgm:bulletEnabled val="1"/>
        </dgm:presLayoutVars>
      </dgm:prSet>
      <dgm:spPr/>
    </dgm:pt>
    <dgm:pt modelId="{7DC1C520-021F-4D90-B759-15E131331D5C}" type="pres">
      <dgm:prSet presAssocID="{3FF369E4-AC07-4511-A93E-77F77EAC8799}" presName="desTx" presStyleLbl="alignAccFollowNode1" presStyleIdx="0" presStyleCnt="4">
        <dgm:presLayoutVars>
          <dgm:bulletEnabled val="1"/>
        </dgm:presLayoutVars>
      </dgm:prSet>
      <dgm:spPr/>
    </dgm:pt>
    <dgm:pt modelId="{58EB7D6F-DA2C-4607-A49B-E35B72BAE557}" type="pres">
      <dgm:prSet presAssocID="{CD323735-D181-4962-93E5-AB990E040DF4}" presName="space" presStyleCnt="0"/>
      <dgm:spPr/>
    </dgm:pt>
    <dgm:pt modelId="{5F52D0D0-2DF7-4477-BCF4-10939A144E88}" type="pres">
      <dgm:prSet presAssocID="{4081BEA9-7605-480C-B8B8-28BD4A0F9E56}" presName="composite" presStyleCnt="0"/>
      <dgm:spPr/>
    </dgm:pt>
    <dgm:pt modelId="{B6E8656C-B384-40A5-91A8-1A2F44E9D9EB}" type="pres">
      <dgm:prSet presAssocID="{4081BEA9-7605-480C-B8B8-28BD4A0F9E56}" presName="parTx" presStyleLbl="alignNode1" presStyleIdx="1" presStyleCnt="4">
        <dgm:presLayoutVars>
          <dgm:chMax val="0"/>
          <dgm:chPref val="0"/>
          <dgm:bulletEnabled val="1"/>
        </dgm:presLayoutVars>
      </dgm:prSet>
      <dgm:spPr/>
    </dgm:pt>
    <dgm:pt modelId="{E86382B3-9909-46DE-989C-76CDC3E643E4}" type="pres">
      <dgm:prSet presAssocID="{4081BEA9-7605-480C-B8B8-28BD4A0F9E56}" presName="desTx" presStyleLbl="alignAccFollowNode1" presStyleIdx="1" presStyleCnt="4">
        <dgm:presLayoutVars>
          <dgm:bulletEnabled val="1"/>
        </dgm:presLayoutVars>
      </dgm:prSet>
      <dgm:spPr/>
    </dgm:pt>
    <dgm:pt modelId="{5F6F02F6-DBCF-4453-BCF4-EFB925A9C2AA}" type="pres">
      <dgm:prSet presAssocID="{9F0DF8E4-1AF5-4AFF-8DA9-022B0421B972}" presName="space" presStyleCnt="0"/>
      <dgm:spPr/>
    </dgm:pt>
    <dgm:pt modelId="{C4CAE6FB-7CF8-4F6B-AEA7-3CE6E858D0C7}" type="pres">
      <dgm:prSet presAssocID="{5D91B453-9930-4BE4-8577-4124BA5B7531}" presName="composite" presStyleCnt="0"/>
      <dgm:spPr/>
    </dgm:pt>
    <dgm:pt modelId="{BD53A648-5CF8-4927-B729-5D1BA12745EE}" type="pres">
      <dgm:prSet presAssocID="{5D91B453-9930-4BE4-8577-4124BA5B7531}" presName="parTx" presStyleLbl="alignNode1" presStyleIdx="2" presStyleCnt="4">
        <dgm:presLayoutVars>
          <dgm:chMax val="0"/>
          <dgm:chPref val="0"/>
          <dgm:bulletEnabled val="1"/>
        </dgm:presLayoutVars>
      </dgm:prSet>
      <dgm:spPr/>
    </dgm:pt>
    <dgm:pt modelId="{DB661A0D-81A2-4A7D-B785-7CEC2C3DA53F}" type="pres">
      <dgm:prSet presAssocID="{5D91B453-9930-4BE4-8577-4124BA5B7531}" presName="desTx" presStyleLbl="alignAccFollowNode1" presStyleIdx="2" presStyleCnt="4">
        <dgm:presLayoutVars>
          <dgm:bulletEnabled val="1"/>
        </dgm:presLayoutVars>
      </dgm:prSet>
      <dgm:spPr/>
    </dgm:pt>
    <dgm:pt modelId="{DF96F386-AE7A-4E32-8FE4-24951CCCCC6C}" type="pres">
      <dgm:prSet presAssocID="{E21DEACA-BC14-415D-900B-86469E718613}" presName="space" presStyleCnt="0"/>
      <dgm:spPr/>
    </dgm:pt>
    <dgm:pt modelId="{1D91260E-04A6-45DB-96EC-452C9DA64269}" type="pres">
      <dgm:prSet presAssocID="{273D4A53-FD20-4CE6-B4E9-A69A77DF5818}" presName="composite" presStyleCnt="0"/>
      <dgm:spPr/>
    </dgm:pt>
    <dgm:pt modelId="{15487FAF-3A74-4A3A-9F6D-51368EA05B07}" type="pres">
      <dgm:prSet presAssocID="{273D4A53-FD20-4CE6-B4E9-A69A77DF5818}" presName="parTx" presStyleLbl="alignNode1" presStyleIdx="3" presStyleCnt="4">
        <dgm:presLayoutVars>
          <dgm:chMax val="0"/>
          <dgm:chPref val="0"/>
          <dgm:bulletEnabled val="1"/>
        </dgm:presLayoutVars>
      </dgm:prSet>
      <dgm:spPr/>
    </dgm:pt>
    <dgm:pt modelId="{5456D212-7CC0-4454-95CC-9501AAE8D744}" type="pres">
      <dgm:prSet presAssocID="{273D4A53-FD20-4CE6-B4E9-A69A77DF5818}" presName="desTx" presStyleLbl="alignAccFollowNode1" presStyleIdx="3" presStyleCnt="4">
        <dgm:presLayoutVars>
          <dgm:bulletEnabled val="1"/>
        </dgm:presLayoutVars>
      </dgm:prSet>
      <dgm:spPr/>
    </dgm:pt>
  </dgm:ptLst>
  <dgm:cxnLst>
    <dgm:cxn modelId="{EC09C400-8D7C-47A1-9151-86114A19791B}" type="presOf" srcId="{14D14315-809B-40D6-AE5F-091A48BCB0E6}" destId="{DB661A0D-81A2-4A7D-B785-7CEC2C3DA53F}" srcOrd="0" destOrd="0" presId="urn:microsoft.com/office/officeart/2005/8/layout/hList1"/>
    <dgm:cxn modelId="{0B45F803-1408-4991-AE7C-FDC13BBE8E79}" srcId="{0183CF39-C5CD-4F98-90A2-A9FEA7FF4DEB}" destId="{4081BEA9-7605-480C-B8B8-28BD4A0F9E56}" srcOrd="1" destOrd="0" parTransId="{D4EA80BE-2EF2-4753-BC5D-9331D7C20DCE}" sibTransId="{9F0DF8E4-1AF5-4AFF-8DA9-022B0421B972}"/>
    <dgm:cxn modelId="{9811E906-915A-4A7B-BC0E-403B2446C72F}" srcId="{273D4A53-FD20-4CE6-B4E9-A69A77DF5818}" destId="{8D93C469-027D-4248-A5D8-4A5F5ABBFC13}" srcOrd="2" destOrd="0" parTransId="{580A0447-6D1C-47B1-B3D9-0BE5A367933C}" sibTransId="{F4A21ABF-57E2-445F-9CE8-CBBB956F9949}"/>
    <dgm:cxn modelId="{D23CF309-A92B-4089-80F9-1024C08E7177}" type="presOf" srcId="{FAE806D2-F298-47BC-9284-E829D3E1646D}" destId="{E86382B3-9909-46DE-989C-76CDC3E643E4}" srcOrd="0" destOrd="3" presId="urn:microsoft.com/office/officeart/2005/8/layout/hList1"/>
    <dgm:cxn modelId="{5A73EF0E-73F2-4A7B-8A26-A50F127EEEBB}" srcId="{5EA190E0-D78C-4056-AD9C-316403338218}" destId="{E55A60FE-7448-4E0E-92AE-0CCF7AC00673}" srcOrd="2" destOrd="0" parTransId="{7E5F26C9-C5AE-493D-AFC2-2CED9D969B71}" sibTransId="{2EED5F8C-4DF8-4454-BB44-0B9497A81084}"/>
    <dgm:cxn modelId="{165C3B11-B2E3-4350-BD13-9C0963870317}" srcId="{5D91B453-9930-4BE4-8577-4124BA5B7531}" destId="{E71BA93B-0744-48AA-BFE9-3F6C1B08D76E}" srcOrd="2" destOrd="0" parTransId="{CC461BCF-22C2-4725-B25C-42D4D426EE08}" sibTransId="{CC31C1D2-B08B-42DA-8417-851AEFF568C7}"/>
    <dgm:cxn modelId="{A0147313-A024-46D0-844D-30E01B945054}" srcId="{4081BEA9-7605-480C-B8B8-28BD4A0F9E56}" destId="{41964B76-E34B-4D6F-8C5F-5F310163E706}" srcOrd="0" destOrd="0" parTransId="{C8020FF9-A8BC-484D-880E-6F0F5397682A}" sibTransId="{A9A54E7B-DCC2-45F3-A5E1-ECB769096419}"/>
    <dgm:cxn modelId="{21CB2118-A41C-4F14-959C-E8C05154D4B7}" type="presOf" srcId="{C3242C99-50C7-4788-BAA2-B8F88F27699B}" destId="{DB661A0D-81A2-4A7D-B785-7CEC2C3DA53F}" srcOrd="0" destOrd="1" presId="urn:microsoft.com/office/officeart/2005/8/layout/hList1"/>
    <dgm:cxn modelId="{A219C91B-35DF-4EB3-B497-C867884AA788}" srcId="{5D91B453-9930-4BE4-8577-4124BA5B7531}" destId="{14D14315-809B-40D6-AE5F-091A48BCB0E6}" srcOrd="0" destOrd="0" parTransId="{68E49C5F-8B11-49DB-9C3E-CF5DBB67BCC7}" sibTransId="{CDD4D6FF-919E-42B8-B6B0-0A361D197733}"/>
    <dgm:cxn modelId="{AC8ADE37-C617-4DCB-95E0-D1A9017D981A}" srcId="{3FF369E4-AC07-4511-A93E-77F77EAC8799}" destId="{5EA190E0-D78C-4056-AD9C-316403338218}" srcOrd="0" destOrd="0" parTransId="{285907C3-97FD-47A5-8D12-B5793B9A42A3}" sibTransId="{FD533361-42EB-4502-AEE5-4D4E3D33F05E}"/>
    <dgm:cxn modelId="{C14DF13C-E398-41CB-8A79-08011C818554}" srcId="{4081BEA9-7605-480C-B8B8-28BD4A0F9E56}" destId="{FE7B0D46-6BB3-4A22-B2FA-C13E63B7DEF9}" srcOrd="2" destOrd="0" parTransId="{637CFAD7-0407-44E9-9594-F47A76DC7422}" sibTransId="{8642C245-B321-4945-877C-D73B76C20847}"/>
    <dgm:cxn modelId="{20D6D33F-C026-4547-B135-0A01D33A2EFC}" srcId="{5D91B453-9930-4BE4-8577-4124BA5B7531}" destId="{C3242C99-50C7-4788-BAA2-B8F88F27699B}" srcOrd="1" destOrd="0" parTransId="{5A99646F-9ED6-447B-B160-F4A56E0CF23A}" sibTransId="{664E3936-3D39-4B98-B3FA-5CA822888540}"/>
    <dgm:cxn modelId="{E5B2B65B-EB5D-40C7-B474-24B7F5D5DEA0}" type="presOf" srcId="{4081BEA9-7605-480C-B8B8-28BD4A0F9E56}" destId="{B6E8656C-B384-40A5-91A8-1A2F44E9D9EB}" srcOrd="0" destOrd="0" presId="urn:microsoft.com/office/officeart/2005/8/layout/hList1"/>
    <dgm:cxn modelId="{1B89CE5C-0076-4AF3-85EE-674DC6661B16}" srcId="{273D4A53-FD20-4CE6-B4E9-A69A77DF5818}" destId="{A5D2F73E-D682-4E59-ABDD-FB32BEA94D37}" srcOrd="1" destOrd="0" parTransId="{B0221F58-42FB-4D81-A23A-4D267EA46108}" sibTransId="{676C57C7-3FED-4895-BAC8-EE7F64F41A80}"/>
    <dgm:cxn modelId="{67448168-1088-45A4-A05B-D18E1BE85907}" srcId="{4081BEA9-7605-480C-B8B8-28BD4A0F9E56}" destId="{F41EBEE8-64AD-4B37-A69B-9AFB90DEF33B}" srcOrd="1" destOrd="0" parTransId="{8DD6EB09-273D-4C4E-940A-FF85C9AAF63F}" sibTransId="{8EDEE2CC-1EEF-4D84-AE37-B8C75F5E5307}"/>
    <dgm:cxn modelId="{25B1504B-1663-4545-95A9-54E65AB338E4}" type="presOf" srcId="{0183CF39-C5CD-4F98-90A2-A9FEA7FF4DEB}" destId="{0CE13F5C-18D2-422E-9DB8-B8C6803AAC7B}" srcOrd="0" destOrd="0" presId="urn:microsoft.com/office/officeart/2005/8/layout/hList1"/>
    <dgm:cxn modelId="{915ADF4C-E888-443D-81C8-FC176BDAADC9}" type="presOf" srcId="{FE7B0D46-6BB3-4A22-B2FA-C13E63B7DEF9}" destId="{E86382B3-9909-46DE-989C-76CDC3E643E4}" srcOrd="0" destOrd="2" presId="urn:microsoft.com/office/officeart/2005/8/layout/hList1"/>
    <dgm:cxn modelId="{F4326275-DB00-4E48-B61C-6A93A4F76680}" type="presOf" srcId="{8D93C469-027D-4248-A5D8-4A5F5ABBFC13}" destId="{5456D212-7CC0-4454-95CC-9501AAE8D744}" srcOrd="0" destOrd="2" presId="urn:microsoft.com/office/officeart/2005/8/layout/hList1"/>
    <dgm:cxn modelId="{C2047C75-7B4A-47BE-924B-EA32C9E0AC6A}" srcId="{0183CF39-C5CD-4F98-90A2-A9FEA7FF4DEB}" destId="{3FF369E4-AC07-4511-A93E-77F77EAC8799}" srcOrd="0" destOrd="0" parTransId="{513F7D0A-E986-4935-8E16-8E480E711870}" sibTransId="{CD323735-D181-4962-93E5-AB990E040DF4}"/>
    <dgm:cxn modelId="{DD8DCC56-5A57-447E-9FAD-DF8621CB3140}" type="presOf" srcId="{E4BBDE64-2D3A-4A36-9742-CF9F2E6FB7D2}" destId="{7DC1C520-021F-4D90-B759-15E131331D5C}" srcOrd="0" destOrd="5" presId="urn:microsoft.com/office/officeart/2005/8/layout/hList1"/>
    <dgm:cxn modelId="{83E68977-3A2A-4DC8-B3C7-E7DC9D365469}" srcId="{4081BEA9-7605-480C-B8B8-28BD4A0F9E56}" destId="{A1205DD6-7451-4367-9432-8C5EC22A3B1D}" srcOrd="4" destOrd="0" parTransId="{561AA78A-3A09-4097-9BEF-9307EFD07D93}" sibTransId="{76A60A05-0FC8-439B-BE6C-037D5C261225}"/>
    <dgm:cxn modelId="{19BAA179-57C4-4ADD-A14E-F0D8C77F986C}" srcId="{5EA190E0-D78C-4056-AD9C-316403338218}" destId="{CB3D9CDF-C131-442D-B67E-AB5C1D1F5BD1}" srcOrd="3" destOrd="0" parTransId="{5DF7DA63-2055-495F-B7E4-522142983592}" sibTransId="{A3313BAB-E4B4-4A9E-983A-F91BB36BEA27}"/>
    <dgm:cxn modelId="{8230777B-0457-4C4C-9D34-22827A47225C}" type="presOf" srcId="{CBADCF36-8786-4B19-8AA2-5728662563BB}" destId="{5456D212-7CC0-4454-95CC-9501AAE8D744}" srcOrd="0" destOrd="0" presId="urn:microsoft.com/office/officeart/2005/8/layout/hList1"/>
    <dgm:cxn modelId="{F9B1A27C-D1A2-45B1-8BBC-DDE4BC2536CC}" srcId="{5D91B453-9930-4BE4-8577-4124BA5B7531}" destId="{E4DFDA1F-06EF-409D-A8C8-C6A453DA6FE8}" srcOrd="3" destOrd="0" parTransId="{7E6283FE-0C00-494B-8D61-4D5B7078E2D4}" sibTransId="{BB6B02F3-26EA-4FBB-B73B-333CFF7EECA0}"/>
    <dgm:cxn modelId="{134C757F-70F5-4160-A4D9-442E391BBDB7}" type="presOf" srcId="{1928EAFD-621B-41DD-8F9F-593A90141DAC}" destId="{7DC1C520-021F-4D90-B759-15E131331D5C}" srcOrd="0" destOrd="2" presId="urn:microsoft.com/office/officeart/2005/8/layout/hList1"/>
    <dgm:cxn modelId="{483D188A-979F-4141-8A9F-A27113B0D95F}" srcId="{4081BEA9-7605-480C-B8B8-28BD4A0F9E56}" destId="{FAE806D2-F298-47BC-9284-E829D3E1646D}" srcOrd="3" destOrd="0" parTransId="{82EDCFC3-B5E8-4FAF-A3D1-67BB536D5252}" sibTransId="{E4B2753A-B176-42BF-8A05-79923D0D6403}"/>
    <dgm:cxn modelId="{826BC78D-537B-47C0-A7E6-B191D55E6C20}" srcId="{0183CF39-C5CD-4F98-90A2-A9FEA7FF4DEB}" destId="{5D91B453-9930-4BE4-8577-4124BA5B7531}" srcOrd="2" destOrd="0" parTransId="{7BAAA704-9B2C-4BB3-950C-84EE96C22B9C}" sibTransId="{E21DEACA-BC14-415D-900B-86469E718613}"/>
    <dgm:cxn modelId="{C1583996-726E-4AC1-925E-49462D0E4B34}" type="presOf" srcId="{273D4A53-FD20-4CE6-B4E9-A69A77DF5818}" destId="{15487FAF-3A74-4A3A-9F6D-51368EA05B07}" srcOrd="0" destOrd="0" presId="urn:microsoft.com/office/officeart/2005/8/layout/hList1"/>
    <dgm:cxn modelId="{3DF46398-8D9E-4BD6-AA4A-2D7C7AE71D5E}" type="presOf" srcId="{E71BA93B-0744-48AA-BFE9-3F6C1B08D76E}" destId="{DB661A0D-81A2-4A7D-B785-7CEC2C3DA53F}" srcOrd="0" destOrd="2" presId="urn:microsoft.com/office/officeart/2005/8/layout/hList1"/>
    <dgm:cxn modelId="{E3E712A0-EE21-4A98-A778-E50E56BF1CC5}" type="presOf" srcId="{C497C68E-25AA-42C3-8999-68CAB7888E51}" destId="{7DC1C520-021F-4D90-B759-15E131331D5C}" srcOrd="0" destOrd="1" presId="urn:microsoft.com/office/officeart/2005/8/layout/hList1"/>
    <dgm:cxn modelId="{F78528A2-9752-4F82-9BE6-4E216A7496B4}" type="presOf" srcId="{E4DFDA1F-06EF-409D-A8C8-C6A453DA6FE8}" destId="{DB661A0D-81A2-4A7D-B785-7CEC2C3DA53F}" srcOrd="0" destOrd="3" presId="urn:microsoft.com/office/officeart/2005/8/layout/hList1"/>
    <dgm:cxn modelId="{C0F02AA6-F14F-4F4D-8F0D-BF16D12D5441}" srcId="{3FF369E4-AC07-4511-A93E-77F77EAC8799}" destId="{E4BBDE64-2D3A-4A36-9742-CF9F2E6FB7D2}" srcOrd="1" destOrd="0" parTransId="{606226D9-F23F-46E9-B18B-3D23644AD611}" sibTransId="{8E412BE1-E260-4AE2-8D7E-4EB20FD0A4AC}"/>
    <dgm:cxn modelId="{D12A63A7-6689-42D1-A2D8-41FEB1901540}" srcId="{5EA190E0-D78C-4056-AD9C-316403338218}" destId="{C497C68E-25AA-42C3-8999-68CAB7888E51}" srcOrd="0" destOrd="0" parTransId="{0FE4D213-0B6B-435E-B7CD-CB6C1B591217}" sibTransId="{B1CD778F-BDB9-4A37-A549-29826E03106C}"/>
    <dgm:cxn modelId="{310DB6A9-8CB7-492F-8D58-85090AB582F2}" srcId="{0183CF39-C5CD-4F98-90A2-A9FEA7FF4DEB}" destId="{273D4A53-FD20-4CE6-B4E9-A69A77DF5818}" srcOrd="3" destOrd="0" parTransId="{7BB346C9-DF8E-41A0-A88F-CE3557882FAB}" sibTransId="{451EADCE-3048-4B20-8653-BE5BE4315441}"/>
    <dgm:cxn modelId="{63A006AD-F052-4505-A17E-54C58894E917}" type="presOf" srcId="{3FF369E4-AC07-4511-A93E-77F77EAC8799}" destId="{D57EE8F2-7574-4E5E-B95E-F06A144BFAEC}" srcOrd="0" destOrd="0" presId="urn:microsoft.com/office/officeart/2005/8/layout/hList1"/>
    <dgm:cxn modelId="{3E9EE8B0-5097-4A5E-A1C9-6EAB02B5811B}" type="presOf" srcId="{5EA190E0-D78C-4056-AD9C-316403338218}" destId="{7DC1C520-021F-4D90-B759-15E131331D5C}" srcOrd="0" destOrd="0" presId="urn:microsoft.com/office/officeart/2005/8/layout/hList1"/>
    <dgm:cxn modelId="{006D34C7-2635-4193-AB07-5E1E780C6828}" type="presOf" srcId="{41964B76-E34B-4D6F-8C5F-5F310163E706}" destId="{E86382B3-9909-46DE-989C-76CDC3E643E4}" srcOrd="0" destOrd="0" presId="urn:microsoft.com/office/officeart/2005/8/layout/hList1"/>
    <dgm:cxn modelId="{9028FACA-5532-4377-9B04-3C1DDF349B14}" type="presOf" srcId="{A1205DD6-7451-4367-9432-8C5EC22A3B1D}" destId="{E86382B3-9909-46DE-989C-76CDC3E643E4}" srcOrd="0" destOrd="4" presId="urn:microsoft.com/office/officeart/2005/8/layout/hList1"/>
    <dgm:cxn modelId="{0BE80CD2-A855-41BC-9C2F-C2CC99E3A8D8}" type="presOf" srcId="{C44269AD-7D31-4D6A-AB7C-769A31C25130}" destId="{5456D212-7CC0-4454-95CC-9501AAE8D744}" srcOrd="0" destOrd="3" presId="urn:microsoft.com/office/officeart/2005/8/layout/hList1"/>
    <dgm:cxn modelId="{489EAAD2-2AD8-44CB-ABF1-034AB02E4ABC}" srcId="{5EA190E0-D78C-4056-AD9C-316403338218}" destId="{1928EAFD-621B-41DD-8F9F-593A90141DAC}" srcOrd="1" destOrd="0" parTransId="{D7EB0B28-A03B-463E-856C-AFE8E909F51E}" sibTransId="{2EA24A5A-4D95-48F9-A1B8-2090D9CBCB7D}"/>
    <dgm:cxn modelId="{0D1D4FD8-0D17-41B0-9FDA-7CB2718F90DD}" type="presOf" srcId="{E55A60FE-7448-4E0E-92AE-0CCF7AC00673}" destId="{7DC1C520-021F-4D90-B759-15E131331D5C}" srcOrd="0" destOrd="3" presId="urn:microsoft.com/office/officeart/2005/8/layout/hList1"/>
    <dgm:cxn modelId="{DC1E0FE5-CF9B-49FE-ACCF-06D77733F219}" type="presOf" srcId="{F41EBEE8-64AD-4B37-A69B-9AFB90DEF33B}" destId="{E86382B3-9909-46DE-989C-76CDC3E643E4}" srcOrd="0" destOrd="1" presId="urn:microsoft.com/office/officeart/2005/8/layout/hList1"/>
    <dgm:cxn modelId="{3E1EC0E5-23C0-4297-B48C-F38725AB15CF}" srcId="{273D4A53-FD20-4CE6-B4E9-A69A77DF5818}" destId="{CBADCF36-8786-4B19-8AA2-5728662563BB}" srcOrd="0" destOrd="0" parTransId="{8D99A0B4-16EF-446F-9DFB-AACB1507CBC0}" sibTransId="{FD59209D-F7BD-4A48-B664-20C63650EA65}"/>
    <dgm:cxn modelId="{0BE01AF3-E1A3-4809-BA66-983F2DC5BD2A}" type="presOf" srcId="{A5D2F73E-D682-4E59-ABDD-FB32BEA94D37}" destId="{5456D212-7CC0-4454-95CC-9501AAE8D744}" srcOrd="0" destOrd="1" presId="urn:microsoft.com/office/officeart/2005/8/layout/hList1"/>
    <dgm:cxn modelId="{AC3A3AF7-5A0B-4FC8-8A67-D5AAA39B7B21}" srcId="{273D4A53-FD20-4CE6-B4E9-A69A77DF5818}" destId="{C44269AD-7D31-4D6A-AB7C-769A31C25130}" srcOrd="3" destOrd="0" parTransId="{6F9AF07B-353C-4CF3-8F81-2212F494A071}" sibTransId="{F6BD0D93-7CB2-49A9-A598-4F80CD85794B}"/>
    <dgm:cxn modelId="{0EA5A6F8-E333-4CF6-926B-0CB741FD5217}" type="presOf" srcId="{5D91B453-9930-4BE4-8577-4124BA5B7531}" destId="{BD53A648-5CF8-4927-B729-5D1BA12745EE}" srcOrd="0" destOrd="0" presId="urn:microsoft.com/office/officeart/2005/8/layout/hList1"/>
    <dgm:cxn modelId="{377D3FFE-6E73-49F4-9114-6881ADF77741}" type="presOf" srcId="{CB3D9CDF-C131-442D-B67E-AB5C1D1F5BD1}" destId="{7DC1C520-021F-4D90-B759-15E131331D5C}" srcOrd="0" destOrd="4" presId="urn:microsoft.com/office/officeart/2005/8/layout/hList1"/>
    <dgm:cxn modelId="{4D1508C7-1970-4A35-96A5-8FE9D24848FF}" type="presParOf" srcId="{0CE13F5C-18D2-422E-9DB8-B8C6803AAC7B}" destId="{1CD6E8E8-3746-40BA-8004-5CD196B07D5D}" srcOrd="0" destOrd="0" presId="urn:microsoft.com/office/officeart/2005/8/layout/hList1"/>
    <dgm:cxn modelId="{1A9FC527-B5BD-460C-B381-6A98CF1DA8AF}" type="presParOf" srcId="{1CD6E8E8-3746-40BA-8004-5CD196B07D5D}" destId="{D57EE8F2-7574-4E5E-B95E-F06A144BFAEC}" srcOrd="0" destOrd="0" presId="urn:microsoft.com/office/officeart/2005/8/layout/hList1"/>
    <dgm:cxn modelId="{8BE91F7A-AC70-411B-991D-8B9B5A7EF3E0}" type="presParOf" srcId="{1CD6E8E8-3746-40BA-8004-5CD196B07D5D}" destId="{7DC1C520-021F-4D90-B759-15E131331D5C}" srcOrd="1" destOrd="0" presId="urn:microsoft.com/office/officeart/2005/8/layout/hList1"/>
    <dgm:cxn modelId="{DDBD3059-E162-44CE-A6E1-4CB48C8FF9C9}" type="presParOf" srcId="{0CE13F5C-18D2-422E-9DB8-B8C6803AAC7B}" destId="{58EB7D6F-DA2C-4607-A49B-E35B72BAE557}" srcOrd="1" destOrd="0" presId="urn:microsoft.com/office/officeart/2005/8/layout/hList1"/>
    <dgm:cxn modelId="{112795C5-B0CB-4C9F-BA88-26C632E10567}" type="presParOf" srcId="{0CE13F5C-18D2-422E-9DB8-B8C6803AAC7B}" destId="{5F52D0D0-2DF7-4477-BCF4-10939A144E88}" srcOrd="2" destOrd="0" presId="urn:microsoft.com/office/officeart/2005/8/layout/hList1"/>
    <dgm:cxn modelId="{711487BA-70AD-4681-92EA-3066E9D1D36B}" type="presParOf" srcId="{5F52D0D0-2DF7-4477-BCF4-10939A144E88}" destId="{B6E8656C-B384-40A5-91A8-1A2F44E9D9EB}" srcOrd="0" destOrd="0" presId="urn:microsoft.com/office/officeart/2005/8/layout/hList1"/>
    <dgm:cxn modelId="{066BCE61-7B0B-4E33-84B6-113DC9E2EB87}" type="presParOf" srcId="{5F52D0D0-2DF7-4477-BCF4-10939A144E88}" destId="{E86382B3-9909-46DE-989C-76CDC3E643E4}" srcOrd="1" destOrd="0" presId="urn:microsoft.com/office/officeart/2005/8/layout/hList1"/>
    <dgm:cxn modelId="{142D5254-2678-4347-8689-F91F84D410F6}" type="presParOf" srcId="{0CE13F5C-18D2-422E-9DB8-B8C6803AAC7B}" destId="{5F6F02F6-DBCF-4453-BCF4-EFB925A9C2AA}" srcOrd="3" destOrd="0" presId="urn:microsoft.com/office/officeart/2005/8/layout/hList1"/>
    <dgm:cxn modelId="{B34F0BC5-A217-4CCB-9B63-E52DB64EAD53}" type="presParOf" srcId="{0CE13F5C-18D2-422E-9DB8-B8C6803AAC7B}" destId="{C4CAE6FB-7CF8-4F6B-AEA7-3CE6E858D0C7}" srcOrd="4" destOrd="0" presId="urn:microsoft.com/office/officeart/2005/8/layout/hList1"/>
    <dgm:cxn modelId="{FAFA5E43-A383-4FE5-8E51-9FC37FB9E9EA}" type="presParOf" srcId="{C4CAE6FB-7CF8-4F6B-AEA7-3CE6E858D0C7}" destId="{BD53A648-5CF8-4927-B729-5D1BA12745EE}" srcOrd="0" destOrd="0" presId="urn:microsoft.com/office/officeart/2005/8/layout/hList1"/>
    <dgm:cxn modelId="{C610C1BE-C52C-450A-9EF5-6269F56677E9}" type="presParOf" srcId="{C4CAE6FB-7CF8-4F6B-AEA7-3CE6E858D0C7}" destId="{DB661A0D-81A2-4A7D-B785-7CEC2C3DA53F}" srcOrd="1" destOrd="0" presId="urn:microsoft.com/office/officeart/2005/8/layout/hList1"/>
    <dgm:cxn modelId="{3547B3E2-4979-4709-933F-C73A13432B16}" type="presParOf" srcId="{0CE13F5C-18D2-422E-9DB8-B8C6803AAC7B}" destId="{DF96F386-AE7A-4E32-8FE4-24951CCCCC6C}" srcOrd="5" destOrd="0" presId="urn:microsoft.com/office/officeart/2005/8/layout/hList1"/>
    <dgm:cxn modelId="{D3233E5C-C37A-45DD-A744-D3DF99A601E2}" type="presParOf" srcId="{0CE13F5C-18D2-422E-9DB8-B8C6803AAC7B}" destId="{1D91260E-04A6-45DB-96EC-452C9DA64269}" srcOrd="6" destOrd="0" presId="urn:microsoft.com/office/officeart/2005/8/layout/hList1"/>
    <dgm:cxn modelId="{4F56CB78-66DC-42AD-BF44-FD287113A25A}" type="presParOf" srcId="{1D91260E-04A6-45DB-96EC-452C9DA64269}" destId="{15487FAF-3A74-4A3A-9F6D-51368EA05B07}" srcOrd="0" destOrd="0" presId="urn:microsoft.com/office/officeart/2005/8/layout/hList1"/>
    <dgm:cxn modelId="{82FC5CD7-FCAC-477B-86B7-BF57F611BD70}" type="presParOf" srcId="{1D91260E-04A6-45DB-96EC-452C9DA64269}" destId="{5456D212-7CC0-4454-95CC-9501AAE8D744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57EE8F2-7574-4E5E-B95E-F06A144BFAEC}">
      <dsp:nvSpPr>
        <dsp:cNvPr id="0" name=""/>
        <dsp:cNvSpPr/>
      </dsp:nvSpPr>
      <dsp:spPr>
        <a:xfrm>
          <a:off x="4088" y="637526"/>
          <a:ext cx="2458415" cy="942475"/>
        </a:xfrm>
        <a:prstGeom prst="rect">
          <a:avLst/>
        </a:prstGeom>
        <a:solidFill>
          <a:schemeClr val="accen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77216" rIns="135128" bIns="77216" numCol="1" spcCol="1270" anchor="ctr" anchorCtr="0">
          <a:noAutofit/>
        </a:bodyPr>
        <a:lstStyle/>
        <a:p>
          <a:pPr marL="0" lvl="0" indent="0" algn="ctr" defTabSz="844550">
            <a:lnSpc>
              <a:spcPct val="150000"/>
            </a:lnSpc>
            <a:spcBef>
              <a:spcPct val="0"/>
            </a:spcBef>
            <a:spcAft>
              <a:spcPct val="35000"/>
            </a:spcAft>
            <a:buFont typeface="Calibri"/>
            <a:buNone/>
          </a:pPr>
          <a:r>
            <a:rPr lang="en-US" sz="1900" b="1" kern="1200">
              <a:cs typeface="Arial"/>
            </a:rPr>
            <a:t>Momentum Data Discovery</a:t>
          </a:r>
          <a:endParaRPr lang="en-GB" sz="1900" kern="1200"/>
        </a:p>
      </dsp:txBody>
      <dsp:txXfrm>
        <a:off x="4088" y="637526"/>
        <a:ext cx="2458415" cy="942475"/>
      </dsp:txXfrm>
    </dsp:sp>
    <dsp:sp modelId="{7DC1C520-021F-4D90-B759-15E131331D5C}">
      <dsp:nvSpPr>
        <dsp:cNvPr id="0" name=""/>
        <dsp:cNvSpPr/>
      </dsp:nvSpPr>
      <dsp:spPr>
        <a:xfrm>
          <a:off x="4088" y="1580001"/>
          <a:ext cx="2458415" cy="292068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>
              <a:cs typeface="Arial"/>
            </a:rPr>
            <a:t>Audit all data capture but the client team</a:t>
          </a:r>
        </a:p>
        <a:p>
          <a:pPr marL="228600" lvl="2" indent="-114300" algn="l" defTabSz="6223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i="1" kern="1200">
              <a:cs typeface="Arial"/>
            </a:rPr>
            <a:t>What do we have? </a:t>
          </a:r>
        </a:p>
        <a:p>
          <a:pPr marL="228600" lvl="2" indent="-114300" algn="l" defTabSz="6223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i="1" kern="1200">
              <a:cs typeface="Arial"/>
            </a:rPr>
            <a:t>What is the source? </a:t>
          </a:r>
        </a:p>
        <a:p>
          <a:pPr marL="228600" lvl="2" indent="-114300" algn="l" defTabSz="6223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i="1" kern="1200">
              <a:cs typeface="Arial"/>
            </a:rPr>
            <a:t>What is the cadence? </a:t>
          </a:r>
        </a:p>
        <a:p>
          <a:pPr marL="228600" lvl="2" indent="-114300" algn="l" defTabSz="6223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i="1" kern="1200">
              <a:cs typeface="Arial"/>
            </a:rPr>
            <a:t>What is captured manually by a field team?</a:t>
          </a:r>
        </a:p>
        <a:p>
          <a:pPr marL="228600" lvl="1" indent="-228600" algn="l" defTabSz="8890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2000" kern="1200">
            <a:cs typeface="Arial"/>
          </a:endParaRPr>
        </a:p>
      </dsp:txBody>
      <dsp:txXfrm>
        <a:off x="4088" y="1580001"/>
        <a:ext cx="2458415" cy="2920680"/>
      </dsp:txXfrm>
    </dsp:sp>
    <dsp:sp modelId="{B6E8656C-B384-40A5-91A8-1A2F44E9D9EB}">
      <dsp:nvSpPr>
        <dsp:cNvPr id="0" name=""/>
        <dsp:cNvSpPr/>
      </dsp:nvSpPr>
      <dsp:spPr>
        <a:xfrm>
          <a:off x="2806682" y="637526"/>
          <a:ext cx="2458415" cy="942475"/>
        </a:xfrm>
        <a:prstGeom prst="rect">
          <a:avLst/>
        </a:prstGeom>
        <a:solidFill>
          <a:schemeClr val="accent2">
            <a:alpha val="90000"/>
            <a:hueOff val="0"/>
            <a:satOff val="0"/>
            <a:lumOff val="0"/>
            <a:alphaOff val="-13333"/>
          </a:schemeClr>
        </a:solidFill>
        <a:ln w="12700" cap="flat" cmpd="sng" algn="ctr">
          <a:solidFill>
            <a:schemeClr val="accent2">
              <a:alpha val="90000"/>
              <a:hueOff val="0"/>
              <a:satOff val="0"/>
              <a:lumOff val="0"/>
              <a:alphaOff val="-13333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77216" rIns="135128" bIns="77216" numCol="1" spcCol="1270" anchor="ctr" anchorCtr="0">
          <a:noAutofit/>
        </a:bodyPr>
        <a:lstStyle/>
        <a:p>
          <a:pPr marL="0" lvl="0" indent="0" algn="ctr" defTabSz="84455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>
              <a:cs typeface="Arial"/>
            </a:rPr>
            <a:t>Technical Discovery UED</a:t>
          </a:r>
        </a:p>
      </dsp:txBody>
      <dsp:txXfrm>
        <a:off x="2806682" y="637526"/>
        <a:ext cx="2458415" cy="942475"/>
      </dsp:txXfrm>
    </dsp:sp>
    <dsp:sp modelId="{E86382B3-9909-46DE-989C-76CDC3E643E4}">
      <dsp:nvSpPr>
        <dsp:cNvPr id="0" name=""/>
        <dsp:cNvSpPr/>
      </dsp:nvSpPr>
      <dsp:spPr>
        <a:xfrm>
          <a:off x="2806682" y="1580001"/>
          <a:ext cx="2458415" cy="292068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>
              <a:cs typeface="Arial"/>
            </a:rPr>
            <a:t>Detailed requirements document</a:t>
          </a:r>
        </a:p>
        <a:p>
          <a:pPr marL="114300" lvl="1" indent="-114300" algn="l" defTabSz="6223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>
              <a:cs typeface="Arial"/>
            </a:rPr>
            <a:t>High-level solution architecture</a:t>
          </a:r>
        </a:p>
        <a:p>
          <a:pPr marL="114300" lvl="1" indent="-114300" algn="l" defTabSz="6223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>
              <a:cs typeface="Arial"/>
            </a:rPr>
            <a:t>API definitions</a:t>
          </a:r>
        </a:p>
        <a:p>
          <a:pPr marL="114300" lvl="1" indent="-114300" algn="l" defTabSz="6223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>
              <a:cs typeface="Arial"/>
            </a:rPr>
            <a:t>DB design</a:t>
          </a:r>
        </a:p>
        <a:p>
          <a:pPr marL="114300" lvl="1" indent="-114300" algn="l" defTabSz="6223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>
              <a:cs typeface="Arial"/>
            </a:rPr>
            <a:t>Front-end Mockup</a:t>
          </a:r>
          <a:br>
            <a:rPr lang="en-US" sz="2000" kern="1200">
              <a:cs typeface="Arial"/>
            </a:rPr>
          </a:br>
          <a:endParaRPr lang="en-US" sz="2000" kern="1200"/>
        </a:p>
      </dsp:txBody>
      <dsp:txXfrm>
        <a:off x="2806682" y="1580001"/>
        <a:ext cx="2458415" cy="2920680"/>
      </dsp:txXfrm>
    </dsp:sp>
    <dsp:sp modelId="{BD53A648-5CF8-4927-B729-5D1BA12745EE}">
      <dsp:nvSpPr>
        <dsp:cNvPr id="0" name=""/>
        <dsp:cNvSpPr/>
      </dsp:nvSpPr>
      <dsp:spPr>
        <a:xfrm>
          <a:off x="5609276" y="637526"/>
          <a:ext cx="2458415" cy="942475"/>
        </a:xfrm>
        <a:prstGeom prst="rect">
          <a:avLst/>
        </a:prstGeom>
        <a:solidFill>
          <a:schemeClr val="accent2">
            <a:alpha val="90000"/>
            <a:hueOff val="0"/>
            <a:satOff val="0"/>
            <a:lumOff val="0"/>
            <a:alphaOff val="-26667"/>
          </a:schemeClr>
        </a:solidFill>
        <a:ln w="12700" cap="flat" cmpd="sng" algn="ctr">
          <a:solidFill>
            <a:schemeClr val="accent2">
              <a:alpha val="90000"/>
              <a:hueOff val="0"/>
              <a:satOff val="0"/>
              <a:lumOff val="0"/>
              <a:alphaOff val="-26667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77216" rIns="135128" bIns="77216" numCol="1" spcCol="1270" anchor="ctr" anchorCtr="0">
          <a:noAutofit/>
        </a:bodyPr>
        <a:lstStyle/>
        <a:p>
          <a:pPr marL="0" lvl="0" indent="0" algn="ctr" defTabSz="84455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>
              <a:cs typeface="Arial"/>
            </a:rPr>
            <a:t>Field Management: </a:t>
          </a:r>
          <a:r>
            <a:rPr lang="en-US" sz="1900" b="1" kern="1200" err="1">
              <a:cs typeface="Arial"/>
            </a:rPr>
            <a:t>BrandScopic</a:t>
          </a:r>
          <a:endParaRPr lang="en-US" sz="1900" b="1" kern="1200">
            <a:cs typeface="Arial"/>
          </a:endParaRPr>
        </a:p>
      </dsp:txBody>
      <dsp:txXfrm>
        <a:off x="5609276" y="637526"/>
        <a:ext cx="2458415" cy="942475"/>
      </dsp:txXfrm>
    </dsp:sp>
    <dsp:sp modelId="{DB661A0D-81A2-4A7D-B785-7CEC2C3DA53F}">
      <dsp:nvSpPr>
        <dsp:cNvPr id="0" name=""/>
        <dsp:cNvSpPr/>
      </dsp:nvSpPr>
      <dsp:spPr>
        <a:xfrm>
          <a:off x="5609276" y="1580001"/>
          <a:ext cx="2458415" cy="292068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>
              <a:cs typeface="Arial"/>
            </a:rPr>
            <a:t>Vendor Set Up, security &amp; sign SOW</a:t>
          </a:r>
        </a:p>
        <a:p>
          <a:pPr marL="114300" lvl="1" indent="-114300" algn="l" defTabSz="6223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>
              <a:cs typeface="Arial"/>
            </a:rPr>
            <a:t>Design a deployment plan</a:t>
          </a:r>
        </a:p>
        <a:p>
          <a:pPr marL="114300" lvl="1" indent="-114300" algn="l" defTabSz="6223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>
              <a:cs typeface="Arial"/>
            </a:rPr>
            <a:t>Process and training material</a:t>
          </a:r>
        </a:p>
        <a:p>
          <a:pPr marL="114300" lvl="1" indent="-114300" algn="l" defTabSz="6223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>
              <a:cs typeface="Arial"/>
            </a:rPr>
            <a:t>Load test use case</a:t>
          </a:r>
          <a:endParaRPr lang="en-US" sz="2000" kern="1200">
            <a:cs typeface="Arial"/>
          </a:endParaRPr>
        </a:p>
      </dsp:txBody>
      <dsp:txXfrm>
        <a:off x="5609276" y="1580001"/>
        <a:ext cx="2458415" cy="2920680"/>
      </dsp:txXfrm>
    </dsp:sp>
    <dsp:sp modelId="{15487FAF-3A74-4A3A-9F6D-51368EA05B07}">
      <dsp:nvSpPr>
        <dsp:cNvPr id="0" name=""/>
        <dsp:cNvSpPr/>
      </dsp:nvSpPr>
      <dsp:spPr>
        <a:xfrm>
          <a:off x="8411870" y="637526"/>
          <a:ext cx="2458415" cy="942475"/>
        </a:xfrm>
        <a:prstGeom prst="rect">
          <a:avLst/>
        </a:prstGeom>
        <a:solidFill>
          <a:schemeClr val="accent2">
            <a:alpha val="90000"/>
            <a:hueOff val="0"/>
            <a:satOff val="0"/>
            <a:lumOff val="0"/>
            <a:alphaOff val="-40000"/>
          </a:schemeClr>
        </a:solidFill>
        <a:ln w="12700" cap="flat" cmpd="sng" algn="ctr">
          <a:solidFill>
            <a:schemeClr val="accent2">
              <a:alpha val="90000"/>
              <a:hueOff val="0"/>
              <a:satOff val="0"/>
              <a:lumOff val="0"/>
              <a:alphaOff val="-4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77216" rIns="135128" bIns="77216" numCol="1" spcCol="1270" anchor="ctr" anchorCtr="0">
          <a:noAutofit/>
        </a:bodyPr>
        <a:lstStyle/>
        <a:p>
          <a:pPr marL="0" lvl="0" indent="0" algn="ctr" defTabSz="84455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>
              <a:cs typeface="Arial"/>
            </a:rPr>
            <a:t>Placer POC</a:t>
          </a:r>
        </a:p>
      </dsp:txBody>
      <dsp:txXfrm>
        <a:off x="8411870" y="637526"/>
        <a:ext cx="2458415" cy="942475"/>
      </dsp:txXfrm>
    </dsp:sp>
    <dsp:sp modelId="{5456D212-7CC0-4454-95CC-9501AAE8D744}">
      <dsp:nvSpPr>
        <dsp:cNvPr id="0" name=""/>
        <dsp:cNvSpPr/>
      </dsp:nvSpPr>
      <dsp:spPr>
        <a:xfrm>
          <a:off x="8411870" y="1580001"/>
          <a:ext cx="2458415" cy="292068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>
              <a:cs typeface="Arial"/>
            </a:rPr>
            <a:t>Data extraction</a:t>
          </a:r>
        </a:p>
        <a:p>
          <a:pPr marL="114300" lvl="1" indent="-114300" algn="l" defTabSz="6223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>
              <a:cs typeface="Arial"/>
            </a:rPr>
            <a:t>API design calculating the number of calls</a:t>
          </a:r>
        </a:p>
        <a:p>
          <a:pPr marL="114300" lvl="1" indent="-114300" algn="l" defTabSz="6223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>
              <a:cs typeface="Arial"/>
            </a:rPr>
            <a:t>Document insights gathered</a:t>
          </a:r>
        </a:p>
        <a:p>
          <a:pPr marL="228600" lvl="1" indent="-228600" algn="l" defTabSz="8890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2000" kern="1200">
            <a:cs typeface="Arial"/>
          </a:endParaRPr>
        </a:p>
      </dsp:txBody>
      <dsp:txXfrm>
        <a:off x="8411870" y="1580001"/>
        <a:ext cx="2458415" cy="292068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088DF4-D06D-4458-8F04-600AE669F631}" type="datetimeFigureOut">
              <a:t>2/7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B98BCF4-5DA4-4CF2-91F7-A307E420B143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70136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FA7044-A491-4002-88E0-09C4D79F77A5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83318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microsoft.com/office/2007/relationships/hdphoto" Target="../media/hdphoto1.wdp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microsoft.com/office/2007/relationships/hdphoto" Target="../media/hdphoto1.wdp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microsoft.com/office/2007/relationships/hdphoto" Target="../media/hdphoto2.wdp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microsoft.com/office/2007/relationships/hdphoto" Target="../media/hdphoto3.wdp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microsoft.com/office/2007/relationships/hdphoto" Target="../media/hdphoto4.wdp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microsoft.com/office/2007/relationships/hdphoto" Target="../media/hdphoto5.wdp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.xml"/><Relationship Id="rId4" Type="http://schemas.openxmlformats.org/officeDocument/2006/relationships/image" Target="../media/image8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/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/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/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4827E1D-223C-C347-B356-D32B75A405D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>
              <a:buNone/>
              <a:defRPr/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0ED602-E314-A946-9574-9E4B113AC2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100" y="502785"/>
            <a:ext cx="11353800" cy="5859916"/>
          </a:xfrm>
        </p:spPr>
        <p:txBody>
          <a:bodyPr lIns="0" tIns="0" rIns="0" bIns="0" anchor="ctr">
            <a:no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KEY STATEMENT</a:t>
            </a:r>
            <a:br>
              <a:rPr lang="en-US"/>
            </a:br>
            <a:r>
              <a:rPr lang="en-US"/>
              <a:t>OVER IMAGE</a:t>
            </a:r>
          </a:p>
        </p:txBody>
      </p:sp>
      <p:sp>
        <p:nvSpPr>
          <p:cNvPr id="8" name="Google Shape;135;p29">
            <a:extLst>
              <a:ext uri="{FF2B5EF4-FFF2-40B4-BE49-F238E27FC236}">
                <a16:creationId xmlns:a16="http://schemas.microsoft.com/office/drawing/2014/main" id="{B5322F6A-B753-B345-B06B-30A15290EC5C}"/>
              </a:ext>
            </a:extLst>
          </p:cNvPr>
          <p:cNvSpPr txBox="1"/>
          <p:nvPr userDrawn="1"/>
        </p:nvSpPr>
        <p:spPr>
          <a:xfrm>
            <a:off x="419100" y="6362700"/>
            <a:ext cx="3666875" cy="479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© MOMENTUM WORLDWIDE 2021 IN CONFIDENCE. </a:t>
            </a:r>
            <a:b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</a:br>
            <a: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THIS DOCUMENT MAY NOT BE DISTRIBUTED OR COPIED WITHOUT PRIOR CONSENT.</a:t>
            </a:r>
            <a:endParaRPr sz="600" b="0" i="0" u="none" strike="noStrike" cap="none">
              <a:solidFill>
                <a:srgbClr val="FFFFFF"/>
              </a:solidFill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EEEEEC9-5554-964E-A3DA-B9C1880B7D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5910" y="13765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8A7D70B-BA5B-454D-9E9C-85AA311AB73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Google Shape;135;p29">
            <a:extLst>
              <a:ext uri="{FF2B5EF4-FFF2-40B4-BE49-F238E27FC236}">
                <a16:creationId xmlns:a16="http://schemas.microsoft.com/office/drawing/2014/main" id="{13AF5523-C9E8-9D4F-A548-C407F8708D98}"/>
              </a:ext>
            </a:extLst>
          </p:cNvPr>
          <p:cNvSpPr txBox="1"/>
          <p:nvPr userDrawn="1"/>
        </p:nvSpPr>
        <p:spPr>
          <a:xfrm>
            <a:off x="-1" y="7483814"/>
            <a:ext cx="12192001" cy="5025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12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Helvetica Neue"/>
              </a:rPr>
              <a:t>Please make sure that page numbers, graphic patterns, legal, and the logo bug are all visible over images.</a:t>
            </a:r>
            <a:endParaRPr sz="1200" b="0" i="0" u="none" strike="noStrike" cap="none">
              <a:solidFill>
                <a:schemeClr val="tx1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  <a:sym typeface="Helvetica Neue"/>
            </a:endParaRPr>
          </a:p>
        </p:txBody>
      </p:sp>
      <p:pic>
        <p:nvPicPr>
          <p:cNvPr id="14" name="Google Shape;246;p40">
            <a:extLst>
              <a:ext uri="{FF2B5EF4-FFF2-40B4-BE49-F238E27FC236}">
                <a16:creationId xmlns:a16="http://schemas.microsoft.com/office/drawing/2014/main" id="{26E1E9E5-73FE-B34D-B602-67BA32A6FD44}"/>
              </a:ext>
            </a:extLst>
          </p:cNvPr>
          <p:cNvPicPr preferRelativeResize="0"/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6460" y="6355008"/>
            <a:ext cx="365760" cy="3657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Google Shape;131;p29">
            <a:extLst>
              <a:ext uri="{FF2B5EF4-FFF2-40B4-BE49-F238E27FC236}">
                <a16:creationId xmlns:a16="http://schemas.microsoft.com/office/drawing/2014/main" id="{925DFFA0-2E05-C74C-9D8E-058A96D6194D}"/>
              </a:ext>
            </a:extLst>
          </p:cNvPr>
          <p:cNvPicPr preferRelativeResize="0"/>
          <p:nvPr userDrawn="1"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19102" y="0"/>
            <a:ext cx="2971798" cy="289418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C045360-E5CB-9146-8F50-F39697FA9247}"/>
              </a:ext>
            </a:extLst>
          </p:cNvPr>
          <p:cNvSpPr/>
          <p:nvPr userDrawn="1"/>
        </p:nvSpPr>
        <p:spPr>
          <a:xfrm>
            <a:off x="-14918" y="7697782"/>
            <a:ext cx="12192000" cy="2031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statement slides make long presentations easier to follow, serving as visual breaks in your presentation.</a:t>
            </a:r>
          </a:p>
        </p:txBody>
      </p:sp>
    </p:spTree>
    <p:extLst>
      <p:ext uri="{BB962C8B-B14F-4D97-AF65-F5344CB8AC3E}">
        <p14:creationId xmlns:p14="http://schemas.microsoft.com/office/powerpoint/2010/main" val="13210821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py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4A2869-8B17-B544-9CFF-DC5C2F7D35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>
            <a:normAutofit/>
          </a:bodyPr>
          <a:lstStyle>
            <a:lvl1pPr>
              <a:defRPr sz="28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E44935-B3BD-8E40-9960-885DD9804D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9100" y="1981199"/>
            <a:ext cx="11353800" cy="4381499"/>
          </a:xfrm>
        </p:spPr>
        <p:txBody>
          <a:bodyPr lIns="0" tIns="0" rIns="0" bIns="0">
            <a:normAutofit/>
          </a:bodyPr>
          <a:lstStyle>
            <a:lvl1pPr>
              <a:defRPr sz="16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1pPr>
            <a:lvl2pPr>
              <a:defRPr sz="14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2pPr>
            <a:lvl3pPr>
              <a:defRPr sz="12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3pPr>
            <a:lvl4pPr>
              <a:defRPr sz="12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4pPr>
            <a:lvl5pPr>
              <a:defRPr sz="12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Google Shape;135;p29">
            <a:extLst>
              <a:ext uri="{FF2B5EF4-FFF2-40B4-BE49-F238E27FC236}">
                <a16:creationId xmlns:a16="http://schemas.microsoft.com/office/drawing/2014/main" id="{04241297-F1AB-A540-980A-2B7280A3C3EA}"/>
              </a:ext>
            </a:extLst>
          </p:cNvPr>
          <p:cNvSpPr txBox="1"/>
          <p:nvPr userDrawn="1"/>
        </p:nvSpPr>
        <p:spPr>
          <a:xfrm>
            <a:off x="419100" y="6362700"/>
            <a:ext cx="3666875" cy="479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© MOMENTUM WORLDWIDE 2021 IN CONFIDENCE. </a:t>
            </a:r>
            <a:b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</a:br>
            <a: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THIS DOCUMENT MAY NOT BE DISTRIBUTED OR COPIED WITHOUT PRIOR CONSENT.</a:t>
            </a:r>
            <a:endParaRPr sz="600" b="0" i="0" u="none" strike="noStrike" cap="none">
              <a:solidFill>
                <a:schemeClr val="tx1"/>
              </a:solidFill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B0E404F-A1D2-9545-8298-188175AE61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5910" y="13765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8A7D70B-BA5B-454D-9E9C-85AA311AB73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Google Shape;61;p15">
            <a:extLst>
              <a:ext uri="{FF2B5EF4-FFF2-40B4-BE49-F238E27FC236}">
                <a16:creationId xmlns:a16="http://schemas.microsoft.com/office/drawing/2014/main" id="{E19D577F-26F4-7E45-B7F8-60688F647522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4056" y="6367040"/>
            <a:ext cx="365760" cy="3657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Google Shape;131;p29">
            <a:extLst>
              <a:ext uri="{FF2B5EF4-FFF2-40B4-BE49-F238E27FC236}">
                <a16:creationId xmlns:a16="http://schemas.microsoft.com/office/drawing/2014/main" id="{8478335E-1040-D545-9443-FD550AA08922}"/>
              </a:ext>
            </a:extLst>
          </p:cNvPr>
          <p:cNvPicPr preferRelativeResize="0"/>
          <p:nvPr userDrawn="1"/>
        </p:nvPicPr>
        <p:blipFill rotWithShape="1">
          <a:blip r:embed="rId3" cstate="screen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19102" y="0"/>
            <a:ext cx="2971798" cy="28941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341313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01A83-F891-454C-BF65-BCAD19EED3F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9100" y="495300"/>
            <a:ext cx="10858500" cy="5867400"/>
          </a:xfrm>
        </p:spPr>
        <p:txBody>
          <a:bodyPr lIns="0" tIns="0" rIns="0" bIns="0" anchor="ctr">
            <a:norm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CHANGE PRESENTATION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D2C376-36AE-444A-9944-7227E33ECC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9100" y="5470892"/>
            <a:ext cx="10858500" cy="472708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PRESENTATION DATE</a:t>
            </a:r>
          </a:p>
        </p:txBody>
      </p:sp>
      <p:sp>
        <p:nvSpPr>
          <p:cNvPr id="9" name="Google Shape;135;p29">
            <a:extLst>
              <a:ext uri="{FF2B5EF4-FFF2-40B4-BE49-F238E27FC236}">
                <a16:creationId xmlns:a16="http://schemas.microsoft.com/office/drawing/2014/main" id="{1AB9DE18-1767-C14D-BE3D-83A6E79FEBC2}"/>
              </a:ext>
            </a:extLst>
          </p:cNvPr>
          <p:cNvSpPr txBox="1"/>
          <p:nvPr userDrawn="1"/>
        </p:nvSpPr>
        <p:spPr>
          <a:xfrm>
            <a:off x="419100" y="6362700"/>
            <a:ext cx="3666875" cy="479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Helvetica Neue"/>
              </a:rPr>
              <a:t>© MOMENTUM WORLDWIDE 2021 IN CONFIDENCE. </a:t>
            </a:r>
            <a:b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Helvetica Neue"/>
              </a:rPr>
            </a:br>
            <a: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Helvetica Neue"/>
              </a:rPr>
              <a:t>THIS DOCUMENT MAY NOT BE DISTRIBUTED OR COPIED WITHOUT PRIOR CONSENT.</a:t>
            </a:r>
            <a:endParaRPr sz="600" b="0" i="0" u="none" strike="noStrike" cap="none">
              <a:solidFill>
                <a:srgbClr val="FFFFFF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  <a:sym typeface="Helvetica Neue"/>
            </a:endParaRPr>
          </a:p>
        </p:txBody>
      </p:sp>
      <p:pic>
        <p:nvPicPr>
          <p:cNvPr id="10" name="Google Shape;136;p29">
            <a:extLst>
              <a:ext uri="{FF2B5EF4-FFF2-40B4-BE49-F238E27FC236}">
                <a16:creationId xmlns:a16="http://schemas.microsoft.com/office/drawing/2014/main" id="{4064A1A0-03C8-3547-849B-2E1665C62821}"/>
              </a:ext>
            </a:extLst>
          </p:cNvPr>
          <p:cNvPicPr preferRelativeResize="0"/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2565" y="235381"/>
            <a:ext cx="913550" cy="117463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Google Shape;246;p40">
            <a:extLst>
              <a:ext uri="{FF2B5EF4-FFF2-40B4-BE49-F238E27FC236}">
                <a16:creationId xmlns:a16="http://schemas.microsoft.com/office/drawing/2014/main" id="{67EFE748-6B10-8B42-9BE5-22BF040B63A3}"/>
              </a:ext>
            </a:extLst>
          </p:cNvPr>
          <p:cNvPicPr preferRelativeResize="0"/>
          <p:nvPr userDrawn="1"/>
        </p:nvPicPr>
        <p:blipFill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6460" y="6355008"/>
            <a:ext cx="365760" cy="3657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Google Shape;131;p29">
            <a:extLst>
              <a:ext uri="{FF2B5EF4-FFF2-40B4-BE49-F238E27FC236}">
                <a16:creationId xmlns:a16="http://schemas.microsoft.com/office/drawing/2014/main" id="{F8184673-9D26-974D-97C1-CB71391F4DA5}"/>
              </a:ext>
            </a:extLst>
          </p:cNvPr>
          <p:cNvPicPr preferRelativeResize="0"/>
          <p:nvPr userDrawn="1"/>
        </p:nvPicPr>
        <p:blipFill rotWithShape="1"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9791701" y="2476502"/>
            <a:ext cx="4381498" cy="4190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783621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01A83-F891-454C-BF65-BCAD19EED3F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9100" y="495300"/>
            <a:ext cx="10858500" cy="5867400"/>
          </a:xfrm>
        </p:spPr>
        <p:txBody>
          <a:bodyPr lIns="0" tIns="0" rIns="0" bIns="0" anchor="ctr">
            <a:norm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CHANGE PRESENTATION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D2C376-36AE-444A-9944-7227E33ECC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9100" y="5470892"/>
            <a:ext cx="10858500" cy="472708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PRESENTATION DATE</a:t>
            </a:r>
          </a:p>
        </p:txBody>
      </p:sp>
      <p:sp>
        <p:nvSpPr>
          <p:cNvPr id="9" name="Google Shape;135;p29">
            <a:extLst>
              <a:ext uri="{FF2B5EF4-FFF2-40B4-BE49-F238E27FC236}">
                <a16:creationId xmlns:a16="http://schemas.microsoft.com/office/drawing/2014/main" id="{1AB9DE18-1767-C14D-BE3D-83A6E79FEBC2}"/>
              </a:ext>
            </a:extLst>
          </p:cNvPr>
          <p:cNvSpPr txBox="1"/>
          <p:nvPr userDrawn="1"/>
        </p:nvSpPr>
        <p:spPr>
          <a:xfrm>
            <a:off x="419100" y="6362700"/>
            <a:ext cx="3666875" cy="479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Helvetica Neue"/>
              </a:rPr>
              <a:t>© MOMENTUM WORLDWIDE 2021 IN CONFIDENCE. </a:t>
            </a:r>
            <a:b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Helvetica Neue"/>
              </a:rPr>
            </a:br>
            <a: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Helvetica Neue"/>
              </a:rPr>
              <a:t>THIS DOCUMENT MAY NOT BE DISTRIBUTED OR COPIED WITHOUT PRIOR CONSENT.</a:t>
            </a:r>
            <a:endParaRPr sz="600" b="0" i="0" u="none" strike="noStrike" cap="none">
              <a:solidFill>
                <a:srgbClr val="FFFFFF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  <a:sym typeface="Helvetica Neue"/>
            </a:endParaRPr>
          </a:p>
        </p:txBody>
      </p:sp>
      <p:pic>
        <p:nvPicPr>
          <p:cNvPr id="10" name="Google Shape;136;p29">
            <a:extLst>
              <a:ext uri="{FF2B5EF4-FFF2-40B4-BE49-F238E27FC236}">
                <a16:creationId xmlns:a16="http://schemas.microsoft.com/office/drawing/2014/main" id="{4064A1A0-03C8-3547-849B-2E1665C62821}"/>
              </a:ext>
            </a:extLst>
          </p:cNvPr>
          <p:cNvPicPr preferRelativeResize="0"/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2565" y="235381"/>
            <a:ext cx="913550" cy="117463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Google Shape;246;p40">
            <a:extLst>
              <a:ext uri="{FF2B5EF4-FFF2-40B4-BE49-F238E27FC236}">
                <a16:creationId xmlns:a16="http://schemas.microsoft.com/office/drawing/2014/main" id="{67EFE748-6B10-8B42-9BE5-22BF040B63A3}"/>
              </a:ext>
            </a:extLst>
          </p:cNvPr>
          <p:cNvPicPr preferRelativeResize="0"/>
          <p:nvPr userDrawn="1"/>
        </p:nvPicPr>
        <p:blipFill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6460" y="6355008"/>
            <a:ext cx="365760" cy="3657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Google Shape;131;p29">
            <a:extLst>
              <a:ext uri="{FF2B5EF4-FFF2-40B4-BE49-F238E27FC236}">
                <a16:creationId xmlns:a16="http://schemas.microsoft.com/office/drawing/2014/main" id="{F8184673-9D26-974D-97C1-CB71391F4DA5}"/>
              </a:ext>
            </a:extLst>
          </p:cNvPr>
          <p:cNvPicPr preferRelativeResize="0"/>
          <p:nvPr userDrawn="1"/>
        </p:nvPicPr>
        <p:blipFill rotWithShape="1"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9791701" y="2476502"/>
            <a:ext cx="4381498" cy="4190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783621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ivid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0ED602-E314-A946-9574-9E4B113AC2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102" y="1943099"/>
            <a:ext cx="10928348" cy="1447801"/>
          </a:xfrm>
        </p:spPr>
        <p:txBody>
          <a:bodyPr lIns="0" tIns="0" rIns="0" bIns="0" anchor="t">
            <a:noAutofit/>
          </a:bodyPr>
          <a:lstStyle>
            <a:lvl1pPr>
              <a:defRPr sz="13800" b="1" i="0">
                <a:solidFill>
                  <a:schemeClr val="bg1"/>
                </a:solidFill>
                <a:latin typeface="Arial Black" panose="020B0604020202020204" pitchFamily="34" charset="0"/>
                <a:ea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##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3FD5B7-22A8-C34C-A750-33FFC8D2C34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19102" y="3476791"/>
            <a:ext cx="10928348" cy="1500187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4800" b="1" i="0">
                <a:solidFill>
                  <a:schemeClr val="bg1"/>
                </a:solidFill>
                <a:latin typeface="Arial Black" panose="020B0604020202020204" pitchFamily="34" charset="0"/>
                <a:ea typeface="Arial Black" panose="020B0604020202020204" pitchFamily="34" charset="0"/>
                <a:cs typeface="Arial Black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8" name="Google Shape;135;p29">
            <a:extLst>
              <a:ext uri="{FF2B5EF4-FFF2-40B4-BE49-F238E27FC236}">
                <a16:creationId xmlns:a16="http://schemas.microsoft.com/office/drawing/2014/main" id="{B5322F6A-B753-B345-B06B-30A15290EC5C}"/>
              </a:ext>
            </a:extLst>
          </p:cNvPr>
          <p:cNvSpPr txBox="1"/>
          <p:nvPr userDrawn="1"/>
        </p:nvSpPr>
        <p:spPr>
          <a:xfrm>
            <a:off x="419102" y="6362700"/>
            <a:ext cx="3666873" cy="479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Helvetica Neue"/>
              </a:rPr>
              <a:t>© MOMENTUM WORLDWIDE 2021 IN CONFIDENCE. </a:t>
            </a:r>
            <a:b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Helvetica Neue"/>
              </a:rPr>
            </a:br>
            <a: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Helvetica Neue"/>
              </a:rPr>
              <a:t>THIS DOCUMENT MAY NOT BE DISTRIBUTED OR COPIED WITHOUT PRIOR CONSENT.</a:t>
            </a:r>
            <a:endParaRPr sz="600" b="0" i="0" u="none" strike="noStrike" cap="none">
              <a:solidFill>
                <a:srgbClr val="FFFFFF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  <a:sym typeface="Helvetica Neue"/>
            </a:endParaRPr>
          </a:p>
        </p:txBody>
      </p:sp>
      <p:pic>
        <p:nvPicPr>
          <p:cNvPr id="9" name="Google Shape;61;p15">
            <a:extLst>
              <a:ext uri="{FF2B5EF4-FFF2-40B4-BE49-F238E27FC236}">
                <a16:creationId xmlns:a16="http://schemas.microsoft.com/office/drawing/2014/main" id="{C212A1C8-6E15-A045-977E-093E502A3A6D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4056" y="6367040"/>
            <a:ext cx="365760" cy="365760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EEEEEC9-5554-964E-A3DA-B9C1880B7D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5910" y="13765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8A7D70B-BA5B-454D-9E9C-85AA311AB73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Google Shape;135;p29">
            <a:extLst>
              <a:ext uri="{FF2B5EF4-FFF2-40B4-BE49-F238E27FC236}">
                <a16:creationId xmlns:a16="http://schemas.microsoft.com/office/drawing/2014/main" id="{CD79FA05-7672-6E46-B67A-81C2718A4187}"/>
              </a:ext>
            </a:extLst>
          </p:cNvPr>
          <p:cNvSpPr txBox="1"/>
          <p:nvPr userDrawn="1"/>
        </p:nvSpPr>
        <p:spPr>
          <a:xfrm>
            <a:off x="-1" y="7487930"/>
            <a:ext cx="12192001" cy="5025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12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Helvetica Neue" panose="02000503000000020004" pitchFamily="2" charset="0"/>
                <a:sym typeface="Helvetica Neue"/>
              </a:rPr>
              <a:t>When numbering sections, numerals should have at least two places. E.g., “01” rather than simply “1"</a:t>
            </a:r>
            <a:endParaRPr sz="1200" b="0" i="0" u="none" strike="noStrike" cap="none">
              <a:solidFill>
                <a:schemeClr val="tx1"/>
              </a:solidFill>
              <a:latin typeface="Arial" panose="020B0604020202020204" pitchFamily="34" charset="0"/>
              <a:ea typeface="Helvetica Neue Light" panose="02000403000000020004" pitchFamily="2" charset="0"/>
              <a:cs typeface="Helvetica Neue" panose="02000503000000020004" pitchFamily="2" charset="0"/>
              <a:sym typeface="Helvetica Neue"/>
            </a:endParaRPr>
          </a:p>
        </p:txBody>
      </p:sp>
      <p:pic>
        <p:nvPicPr>
          <p:cNvPr id="13" name="Google Shape;131;p29">
            <a:extLst>
              <a:ext uri="{FF2B5EF4-FFF2-40B4-BE49-F238E27FC236}">
                <a16:creationId xmlns:a16="http://schemas.microsoft.com/office/drawing/2014/main" id="{7FF81CC7-7497-9841-A13A-CF899AF3CFE0}"/>
              </a:ext>
            </a:extLst>
          </p:cNvPr>
          <p:cNvPicPr preferRelativeResize="0"/>
          <p:nvPr userDrawn="1"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19102" y="0"/>
            <a:ext cx="2971798" cy="28941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826447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py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4A2869-8B17-B544-9CFF-DC5C2F7D35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>
            <a:normAutofit/>
          </a:bodyPr>
          <a:lstStyle>
            <a:lvl1pPr>
              <a:defRPr sz="28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E44935-B3BD-8E40-9960-885DD9804D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9100" y="1981199"/>
            <a:ext cx="11353800" cy="4381499"/>
          </a:xfrm>
        </p:spPr>
        <p:txBody>
          <a:bodyPr lIns="0" tIns="0" rIns="0" bIns="0">
            <a:normAutofit/>
          </a:bodyPr>
          <a:lstStyle>
            <a:lvl1pPr>
              <a:defRPr sz="16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1pPr>
            <a:lvl2pPr>
              <a:defRPr sz="14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2pPr>
            <a:lvl3pPr>
              <a:defRPr sz="12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3pPr>
            <a:lvl4pPr>
              <a:defRPr sz="12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4pPr>
            <a:lvl5pPr>
              <a:defRPr sz="12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Google Shape;135;p29">
            <a:extLst>
              <a:ext uri="{FF2B5EF4-FFF2-40B4-BE49-F238E27FC236}">
                <a16:creationId xmlns:a16="http://schemas.microsoft.com/office/drawing/2014/main" id="{04241297-F1AB-A540-980A-2B7280A3C3EA}"/>
              </a:ext>
            </a:extLst>
          </p:cNvPr>
          <p:cNvSpPr txBox="1"/>
          <p:nvPr userDrawn="1"/>
        </p:nvSpPr>
        <p:spPr>
          <a:xfrm>
            <a:off x="419100" y="6362700"/>
            <a:ext cx="3666875" cy="479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© MOMENTUM WORLDWIDE 2021 IN CONFIDENCE. </a:t>
            </a:r>
            <a:b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</a:br>
            <a: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THIS DOCUMENT MAY NOT BE DISTRIBUTED OR COPIED WITHOUT PRIOR CONSENT.</a:t>
            </a:r>
            <a:endParaRPr sz="600" b="0" i="0" u="none" strike="noStrike" cap="none">
              <a:solidFill>
                <a:schemeClr val="tx1"/>
              </a:solidFill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B0E404F-A1D2-9545-8298-188175AE61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5910" y="13765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8A7D70B-BA5B-454D-9E9C-85AA311AB73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Google Shape;61;p15">
            <a:extLst>
              <a:ext uri="{FF2B5EF4-FFF2-40B4-BE49-F238E27FC236}">
                <a16:creationId xmlns:a16="http://schemas.microsoft.com/office/drawing/2014/main" id="{E19D577F-26F4-7E45-B7F8-60688F647522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4056" y="6367040"/>
            <a:ext cx="365760" cy="3657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Google Shape;131;p29">
            <a:extLst>
              <a:ext uri="{FF2B5EF4-FFF2-40B4-BE49-F238E27FC236}">
                <a16:creationId xmlns:a16="http://schemas.microsoft.com/office/drawing/2014/main" id="{8478335E-1040-D545-9443-FD550AA08922}"/>
              </a:ext>
            </a:extLst>
          </p:cNvPr>
          <p:cNvPicPr preferRelativeResize="0"/>
          <p:nvPr userDrawn="1"/>
        </p:nvPicPr>
        <p:blipFill rotWithShape="1">
          <a:blip r:embed="rId3" cstate="screen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19102" y="0"/>
            <a:ext cx="2971798" cy="28941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341313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4A2869-8B17-B544-9CFF-DC5C2F7D35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>
            <a:normAutofit/>
          </a:bodyPr>
          <a:lstStyle>
            <a:lvl1pPr>
              <a:defRPr sz="2800"/>
            </a:lvl1pPr>
          </a:lstStyle>
          <a:p>
            <a:endParaRPr lang="en-US"/>
          </a:p>
        </p:txBody>
      </p:sp>
      <p:sp>
        <p:nvSpPr>
          <p:cNvPr id="7" name="Google Shape;135;p29">
            <a:extLst>
              <a:ext uri="{FF2B5EF4-FFF2-40B4-BE49-F238E27FC236}">
                <a16:creationId xmlns:a16="http://schemas.microsoft.com/office/drawing/2014/main" id="{04241297-F1AB-A540-980A-2B7280A3C3EA}"/>
              </a:ext>
            </a:extLst>
          </p:cNvPr>
          <p:cNvSpPr txBox="1"/>
          <p:nvPr userDrawn="1"/>
        </p:nvSpPr>
        <p:spPr>
          <a:xfrm>
            <a:off x="419100" y="6362700"/>
            <a:ext cx="3666875" cy="479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© MOMENTUM WORLDWIDE 2021 IN CONFIDENCE. </a:t>
            </a:r>
            <a:b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</a:br>
            <a: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THIS DOCUMENT MAY NOT BE DISTRIBUTED OR COPIED WITHOUT PRIOR CONSENT.</a:t>
            </a:r>
            <a:endParaRPr sz="600" b="0" i="0" u="none" strike="noStrike" cap="none">
              <a:solidFill>
                <a:schemeClr val="tx1"/>
              </a:solidFill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B0E404F-A1D2-9545-8298-188175AE61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5910" y="13765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8A7D70B-BA5B-454D-9E9C-85AA311AB73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Google Shape;61;p15">
            <a:extLst>
              <a:ext uri="{FF2B5EF4-FFF2-40B4-BE49-F238E27FC236}">
                <a16:creationId xmlns:a16="http://schemas.microsoft.com/office/drawing/2014/main" id="{D9DB8F09-1A3E-D24C-97E2-DAB9988D1DF0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4056" y="6367040"/>
            <a:ext cx="365760" cy="3657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Google Shape;131;p29">
            <a:extLst>
              <a:ext uri="{FF2B5EF4-FFF2-40B4-BE49-F238E27FC236}">
                <a16:creationId xmlns:a16="http://schemas.microsoft.com/office/drawing/2014/main" id="{E66248C5-863E-E244-AD3D-6883D3513871}"/>
              </a:ext>
            </a:extLst>
          </p:cNvPr>
          <p:cNvPicPr preferRelativeResize="0"/>
          <p:nvPr userDrawn="1"/>
        </p:nvPicPr>
        <p:blipFill rotWithShape="1">
          <a:blip r:embed="rId3" cstate="screen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19102" y="0"/>
            <a:ext cx="2971798" cy="28941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569640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135;p29">
            <a:extLst>
              <a:ext uri="{FF2B5EF4-FFF2-40B4-BE49-F238E27FC236}">
                <a16:creationId xmlns:a16="http://schemas.microsoft.com/office/drawing/2014/main" id="{04241297-F1AB-A540-980A-2B7280A3C3EA}"/>
              </a:ext>
            </a:extLst>
          </p:cNvPr>
          <p:cNvSpPr txBox="1"/>
          <p:nvPr userDrawn="1"/>
        </p:nvSpPr>
        <p:spPr>
          <a:xfrm>
            <a:off x="419100" y="6362700"/>
            <a:ext cx="3666875" cy="479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© MOMENTUM WORLDWIDE 2021 IN CONFIDENCE. </a:t>
            </a:r>
            <a:b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</a:br>
            <a: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THIS DOCUMENT MAY NOT BE DISTRIBUTED OR COPIED WITHOUT PRIOR CONSENT.</a:t>
            </a:r>
            <a:endParaRPr sz="600" b="0" i="0" u="none" strike="noStrike" cap="none">
              <a:solidFill>
                <a:schemeClr val="tx1"/>
              </a:solidFill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B0E404F-A1D2-9545-8298-188175AE61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5910" y="13765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8A7D70B-BA5B-454D-9E9C-85AA311AB73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Google Shape;61;p15">
            <a:extLst>
              <a:ext uri="{FF2B5EF4-FFF2-40B4-BE49-F238E27FC236}">
                <a16:creationId xmlns:a16="http://schemas.microsoft.com/office/drawing/2014/main" id="{C50062A9-988A-9E47-B3E6-F36C9C911A2C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4056" y="6367040"/>
            <a:ext cx="365760" cy="36576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242424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/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038ACC7-CDE9-5A4D-8C9F-4C8A3AA21DBE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134100" y="1"/>
            <a:ext cx="6057900" cy="6842616"/>
          </a:xfrm>
        </p:spPr>
        <p:txBody>
          <a:bodyPr/>
          <a:lstStyle>
            <a:lvl1pPr>
              <a:defRPr sz="32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1pPr>
            <a:lvl2pPr>
              <a:defRPr sz="28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2pPr>
            <a:lvl3pPr>
              <a:defRPr sz="24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3pPr>
            <a:lvl4pPr>
              <a:defRPr sz="20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4pPr>
            <a:lvl5pPr>
              <a:defRPr sz="20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4A2869-8B17-B544-9CFF-DC5C2F7D35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0" y="502784"/>
            <a:ext cx="4876800" cy="1402216"/>
          </a:xfrm>
        </p:spPr>
        <p:txBody>
          <a:bodyPr lIns="0" tIns="0" rIns="0" bIns="0">
            <a:normAutofit/>
          </a:bodyPr>
          <a:lstStyle>
            <a:lvl1pPr>
              <a:defRPr sz="2800"/>
            </a:lvl1pPr>
          </a:lstStyle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E44935-B3BD-8E40-9960-885DD9804D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9100" y="1981200"/>
            <a:ext cx="4876800" cy="4391210"/>
          </a:xfrm>
        </p:spPr>
        <p:txBody>
          <a:bodyPr lIns="0" tIns="0" rIns="0" bIns="0">
            <a:normAutofit/>
          </a:bodyPr>
          <a:lstStyle>
            <a:lvl1pPr>
              <a:defRPr sz="16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1pPr>
            <a:lvl2pPr>
              <a:defRPr sz="14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2pPr>
            <a:lvl3pPr>
              <a:defRPr sz="12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3pPr>
            <a:lvl4pPr>
              <a:defRPr sz="12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4pPr>
            <a:lvl5pPr>
              <a:defRPr sz="12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Google Shape;135;p29">
            <a:extLst>
              <a:ext uri="{FF2B5EF4-FFF2-40B4-BE49-F238E27FC236}">
                <a16:creationId xmlns:a16="http://schemas.microsoft.com/office/drawing/2014/main" id="{04241297-F1AB-A540-980A-2B7280A3C3EA}"/>
              </a:ext>
            </a:extLst>
          </p:cNvPr>
          <p:cNvSpPr txBox="1"/>
          <p:nvPr userDrawn="1"/>
        </p:nvSpPr>
        <p:spPr>
          <a:xfrm>
            <a:off x="419100" y="6362700"/>
            <a:ext cx="3666875" cy="479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© MOMENTUM WORLDWIDE 2021 IN CONFIDENCE. </a:t>
            </a:r>
            <a:b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</a:br>
            <a: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THIS DOCUMENT MAY NOT BE DISTRIBUTED OR COPIED WITHOUT PRIOR CONSENT.</a:t>
            </a:r>
            <a:endParaRPr sz="600" b="0" i="0" u="none" strike="noStrike" cap="none">
              <a:solidFill>
                <a:schemeClr val="tx1"/>
              </a:solidFill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B0E404F-A1D2-9545-8298-188175AE61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5910" y="13765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8A7D70B-BA5B-454D-9E9C-85AA311AB73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Google Shape;135;p29">
            <a:extLst>
              <a:ext uri="{FF2B5EF4-FFF2-40B4-BE49-F238E27FC236}">
                <a16:creationId xmlns:a16="http://schemas.microsoft.com/office/drawing/2014/main" id="{3CCA303A-0897-4E4D-8DAA-5259DB3F568A}"/>
              </a:ext>
            </a:extLst>
          </p:cNvPr>
          <p:cNvSpPr txBox="1"/>
          <p:nvPr userDrawn="1"/>
        </p:nvSpPr>
        <p:spPr>
          <a:xfrm>
            <a:off x="-1" y="7483814"/>
            <a:ext cx="12192001" cy="5025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12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Helvetica Neue"/>
              </a:rPr>
              <a:t>Please make sure that page numbers, graphic patterns, legal, and the logo bug are all visible over images.</a:t>
            </a:r>
            <a:endParaRPr sz="1200" b="0" i="0" u="none" strike="noStrike" cap="none">
              <a:solidFill>
                <a:schemeClr val="tx1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  <a:sym typeface="Helvetica Neue"/>
            </a:endParaRPr>
          </a:p>
        </p:txBody>
      </p:sp>
      <p:pic>
        <p:nvPicPr>
          <p:cNvPr id="14" name="Google Shape;61;p15">
            <a:extLst>
              <a:ext uri="{FF2B5EF4-FFF2-40B4-BE49-F238E27FC236}">
                <a16:creationId xmlns:a16="http://schemas.microsoft.com/office/drawing/2014/main" id="{C310EF45-0C75-C94C-BAF7-4F13C37E434F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4056" y="6367040"/>
            <a:ext cx="365760" cy="3657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Google Shape;131;p29">
            <a:extLst>
              <a:ext uri="{FF2B5EF4-FFF2-40B4-BE49-F238E27FC236}">
                <a16:creationId xmlns:a16="http://schemas.microsoft.com/office/drawing/2014/main" id="{10D5F239-274C-3A42-A30B-DA9E3B515CE7}"/>
              </a:ext>
            </a:extLst>
          </p:cNvPr>
          <p:cNvPicPr preferRelativeResize="0"/>
          <p:nvPr userDrawn="1"/>
        </p:nvPicPr>
        <p:blipFill rotWithShape="1">
          <a:blip r:embed="rId3" cstate="screen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19102" y="0"/>
            <a:ext cx="2971798" cy="28941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669921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038ACC7-CDE9-5A4D-8C9F-4C8A3AA21DBE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381500" y="1"/>
            <a:ext cx="7810500" cy="6842616"/>
          </a:xfrm>
        </p:spPr>
        <p:txBody>
          <a:bodyPr>
            <a:normAutofit/>
          </a:bodyPr>
          <a:lstStyle>
            <a:lvl1pPr>
              <a:defRPr sz="16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1pPr>
            <a:lvl2pPr>
              <a:defRPr sz="14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2pPr>
            <a:lvl3pPr>
              <a:defRPr sz="12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3pPr>
            <a:lvl4pPr>
              <a:defRPr sz="11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4pPr>
            <a:lvl5pPr>
              <a:defRPr sz="11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4A2869-8B17-B544-9CFF-DC5C2F7D35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0" y="502785"/>
            <a:ext cx="3390900" cy="1402215"/>
          </a:xfrm>
        </p:spPr>
        <p:txBody>
          <a:bodyPr lIns="0" tIns="0" rIns="0" bIns="0">
            <a:normAutofit/>
          </a:bodyPr>
          <a:lstStyle>
            <a:lvl1pPr>
              <a:defRPr sz="2800"/>
            </a:lvl1pPr>
          </a:lstStyle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E44935-B3BD-8E40-9960-885DD9804D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9100" y="1981200"/>
            <a:ext cx="3390900" cy="4381500"/>
          </a:xfrm>
        </p:spPr>
        <p:txBody>
          <a:bodyPr lIns="0" tIns="0" rIns="0" bIns="0">
            <a:normAutofit/>
          </a:bodyPr>
          <a:lstStyle>
            <a:lvl1pPr>
              <a:defRPr sz="16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1pPr>
            <a:lvl2pPr>
              <a:defRPr sz="14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2pPr>
            <a:lvl3pPr>
              <a:defRPr sz="12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3pPr>
            <a:lvl4pPr>
              <a:defRPr sz="12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4pPr>
            <a:lvl5pPr>
              <a:defRPr sz="12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Google Shape;135;p29">
            <a:extLst>
              <a:ext uri="{FF2B5EF4-FFF2-40B4-BE49-F238E27FC236}">
                <a16:creationId xmlns:a16="http://schemas.microsoft.com/office/drawing/2014/main" id="{04241297-F1AB-A540-980A-2B7280A3C3EA}"/>
              </a:ext>
            </a:extLst>
          </p:cNvPr>
          <p:cNvSpPr txBox="1"/>
          <p:nvPr userDrawn="1"/>
        </p:nvSpPr>
        <p:spPr>
          <a:xfrm>
            <a:off x="419100" y="6362700"/>
            <a:ext cx="3666875" cy="479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© MOMENTUM WORLDWIDE 2021 IN CONFIDENCE. </a:t>
            </a:r>
            <a:b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</a:br>
            <a: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THIS DOCUMENT MAY NOT BE DISTRIBUTED OR COPIED WITHOUT PRIOR CONSENT.</a:t>
            </a:r>
            <a:endParaRPr sz="600" b="0" i="0" u="none" strike="noStrike" cap="none">
              <a:solidFill>
                <a:schemeClr val="tx1"/>
              </a:solidFill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B0E404F-A1D2-9545-8298-188175AE61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5910" y="13765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8A7D70B-BA5B-454D-9E9C-85AA311AB73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Google Shape;135;p29">
            <a:extLst>
              <a:ext uri="{FF2B5EF4-FFF2-40B4-BE49-F238E27FC236}">
                <a16:creationId xmlns:a16="http://schemas.microsoft.com/office/drawing/2014/main" id="{402686C8-D270-CC41-87D4-A220C3B4FAC2}"/>
              </a:ext>
            </a:extLst>
          </p:cNvPr>
          <p:cNvSpPr txBox="1"/>
          <p:nvPr userDrawn="1"/>
        </p:nvSpPr>
        <p:spPr>
          <a:xfrm>
            <a:off x="-1" y="7483814"/>
            <a:ext cx="12192001" cy="5025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12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Helvetica Neue"/>
              </a:rPr>
              <a:t>Please make sure that page numbers, graphic patterns, legal, and the logo bug are all visible over images.</a:t>
            </a:r>
            <a:endParaRPr sz="1200" b="0" i="0" u="none" strike="noStrike" cap="none">
              <a:solidFill>
                <a:schemeClr val="tx1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  <a:sym typeface="Helvetica Neue"/>
            </a:endParaRPr>
          </a:p>
        </p:txBody>
      </p:sp>
      <p:pic>
        <p:nvPicPr>
          <p:cNvPr id="14" name="Google Shape;61;p15">
            <a:extLst>
              <a:ext uri="{FF2B5EF4-FFF2-40B4-BE49-F238E27FC236}">
                <a16:creationId xmlns:a16="http://schemas.microsoft.com/office/drawing/2014/main" id="{A02C1BA6-8F26-8044-9EE8-77EBD2DCB1BC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4056" y="6367040"/>
            <a:ext cx="365760" cy="3657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Google Shape;131;p29">
            <a:extLst>
              <a:ext uri="{FF2B5EF4-FFF2-40B4-BE49-F238E27FC236}">
                <a16:creationId xmlns:a16="http://schemas.microsoft.com/office/drawing/2014/main" id="{0F02FDE9-AB3A-4040-B01E-2925DC7470E0}"/>
              </a:ext>
            </a:extLst>
          </p:cNvPr>
          <p:cNvPicPr preferRelativeResize="0"/>
          <p:nvPr userDrawn="1"/>
        </p:nvPicPr>
        <p:blipFill rotWithShape="1">
          <a:blip r:embed="rId3" cstate="screen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19102" y="0"/>
            <a:ext cx="2971798" cy="28941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3747216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Bleed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038ACC7-CDE9-5A4D-8C9F-4C8A3AA21DBE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-1" y="1"/>
            <a:ext cx="12192001" cy="6842616"/>
          </a:xfrm>
        </p:spPr>
        <p:txBody>
          <a:bodyPr>
            <a:normAutofit/>
          </a:bodyPr>
          <a:lstStyle>
            <a:lvl1pPr>
              <a:defRPr sz="16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1pPr>
            <a:lvl2pPr>
              <a:defRPr sz="14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2pPr>
            <a:lvl3pPr>
              <a:defRPr sz="12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3pPr>
            <a:lvl4pPr>
              <a:defRPr sz="11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4pPr>
            <a:lvl5pPr>
              <a:defRPr sz="11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4A2869-8B17-B544-9CFF-DC5C2F7D35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0" y="502785"/>
            <a:ext cx="4876800" cy="1402215"/>
          </a:xfrm>
        </p:spPr>
        <p:txBody>
          <a:bodyPr lIns="0" tIns="0" rIns="0" bIns="0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E44935-B3BD-8E40-9960-885DD9804D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9100" y="1981200"/>
            <a:ext cx="4876800" cy="4381500"/>
          </a:xfrm>
        </p:spPr>
        <p:txBody>
          <a:bodyPr lIns="0" tIns="0" rIns="0" bIns="0">
            <a:normAutofit/>
          </a:bodyPr>
          <a:lstStyle>
            <a:lvl1pPr>
              <a:defRPr sz="1600" b="0" i="0">
                <a:solidFill>
                  <a:schemeClr val="bg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3pPr>
            <a:lvl4pPr>
              <a:defRPr sz="1200" b="0" i="0">
                <a:solidFill>
                  <a:schemeClr val="bg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4pPr>
            <a:lvl5pPr>
              <a:defRPr sz="1200" b="0" i="0">
                <a:solidFill>
                  <a:schemeClr val="bg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Google Shape;135;p29">
            <a:extLst>
              <a:ext uri="{FF2B5EF4-FFF2-40B4-BE49-F238E27FC236}">
                <a16:creationId xmlns:a16="http://schemas.microsoft.com/office/drawing/2014/main" id="{04241297-F1AB-A540-980A-2B7280A3C3EA}"/>
              </a:ext>
            </a:extLst>
          </p:cNvPr>
          <p:cNvSpPr txBox="1"/>
          <p:nvPr userDrawn="1"/>
        </p:nvSpPr>
        <p:spPr>
          <a:xfrm>
            <a:off x="419100" y="6362700"/>
            <a:ext cx="3666875" cy="479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© MOMENTUM WORLDWIDE 2021 IN CONFIDENCE. </a:t>
            </a:r>
            <a:b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</a:br>
            <a: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THIS DOCUMENT MAY NOT BE DISTRIBUTED OR COPIED WITHOUT PRIOR CONSENT.</a:t>
            </a:r>
            <a:endParaRPr sz="600" b="0" i="0" u="none" strike="noStrike" cap="none">
              <a:solidFill>
                <a:schemeClr val="tx1"/>
              </a:solidFill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B0E404F-A1D2-9545-8298-188175AE61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5910" y="13765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8A7D70B-BA5B-454D-9E9C-85AA311AB73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Google Shape;135;p29">
            <a:extLst>
              <a:ext uri="{FF2B5EF4-FFF2-40B4-BE49-F238E27FC236}">
                <a16:creationId xmlns:a16="http://schemas.microsoft.com/office/drawing/2014/main" id="{402686C8-D270-CC41-87D4-A220C3B4FAC2}"/>
              </a:ext>
            </a:extLst>
          </p:cNvPr>
          <p:cNvSpPr txBox="1"/>
          <p:nvPr userDrawn="1"/>
        </p:nvSpPr>
        <p:spPr>
          <a:xfrm>
            <a:off x="-1" y="7483814"/>
            <a:ext cx="12192001" cy="5025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12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Helvetica Neue"/>
              </a:rPr>
              <a:t>Please make sure that page numbers, graphic patterns, legal, and the logo bug are all visible over images.</a:t>
            </a:r>
            <a:endParaRPr sz="1200" b="0" i="0" u="none" strike="noStrike" cap="none">
              <a:solidFill>
                <a:schemeClr val="tx1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  <a:sym typeface="Helvetica Neue"/>
            </a:endParaRPr>
          </a:p>
        </p:txBody>
      </p:sp>
      <p:pic>
        <p:nvPicPr>
          <p:cNvPr id="15" name="Google Shape;246;p40">
            <a:extLst>
              <a:ext uri="{FF2B5EF4-FFF2-40B4-BE49-F238E27FC236}">
                <a16:creationId xmlns:a16="http://schemas.microsoft.com/office/drawing/2014/main" id="{3ACC2C59-E23A-B541-BE94-2A89478F4713}"/>
              </a:ext>
            </a:extLst>
          </p:cNvPr>
          <p:cNvPicPr preferRelativeResize="0"/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6460" y="6355008"/>
            <a:ext cx="365760" cy="3657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Google Shape;131;p29">
            <a:extLst>
              <a:ext uri="{FF2B5EF4-FFF2-40B4-BE49-F238E27FC236}">
                <a16:creationId xmlns:a16="http://schemas.microsoft.com/office/drawing/2014/main" id="{2012730B-248A-AF4E-8BC6-9F6D785B39C1}"/>
              </a:ext>
            </a:extLst>
          </p:cNvPr>
          <p:cNvPicPr preferRelativeResize="0"/>
          <p:nvPr userDrawn="1"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19102" y="0"/>
            <a:ext cx="2971798" cy="28941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578592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4827E1D-223C-C347-B356-D32B75A405D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>
              <a:buNone/>
              <a:defRPr/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0ED602-E314-A946-9574-9E4B113AC2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100" y="502785"/>
            <a:ext cx="11353800" cy="5859916"/>
          </a:xfrm>
        </p:spPr>
        <p:txBody>
          <a:bodyPr lIns="0" tIns="0" rIns="0" bIns="0" anchor="ctr">
            <a:no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KEY STATEMENT</a:t>
            </a:r>
            <a:br>
              <a:rPr lang="en-US"/>
            </a:br>
            <a:r>
              <a:rPr lang="en-US"/>
              <a:t>OVER IMAGE</a:t>
            </a:r>
          </a:p>
        </p:txBody>
      </p:sp>
      <p:sp>
        <p:nvSpPr>
          <p:cNvPr id="8" name="Google Shape;135;p29">
            <a:extLst>
              <a:ext uri="{FF2B5EF4-FFF2-40B4-BE49-F238E27FC236}">
                <a16:creationId xmlns:a16="http://schemas.microsoft.com/office/drawing/2014/main" id="{B5322F6A-B753-B345-B06B-30A15290EC5C}"/>
              </a:ext>
            </a:extLst>
          </p:cNvPr>
          <p:cNvSpPr txBox="1"/>
          <p:nvPr userDrawn="1"/>
        </p:nvSpPr>
        <p:spPr>
          <a:xfrm>
            <a:off x="419100" y="6362700"/>
            <a:ext cx="3666875" cy="479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© MOMENTUM WORLDWIDE 2021 IN CONFIDENCE. </a:t>
            </a:r>
            <a:b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</a:br>
            <a: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THIS DOCUMENT MAY NOT BE DISTRIBUTED OR COPIED WITHOUT PRIOR CONSENT.</a:t>
            </a:r>
            <a:endParaRPr sz="600" b="0" i="0" u="none" strike="noStrike" cap="none">
              <a:solidFill>
                <a:srgbClr val="FFFFFF"/>
              </a:solidFill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EEEEEC9-5554-964E-A3DA-B9C1880B7D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5910" y="13765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8A7D70B-BA5B-454D-9E9C-85AA311AB73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Google Shape;135;p29">
            <a:extLst>
              <a:ext uri="{FF2B5EF4-FFF2-40B4-BE49-F238E27FC236}">
                <a16:creationId xmlns:a16="http://schemas.microsoft.com/office/drawing/2014/main" id="{13AF5523-C9E8-9D4F-A548-C407F8708D98}"/>
              </a:ext>
            </a:extLst>
          </p:cNvPr>
          <p:cNvSpPr txBox="1"/>
          <p:nvPr userDrawn="1"/>
        </p:nvSpPr>
        <p:spPr>
          <a:xfrm>
            <a:off x="-1" y="7483814"/>
            <a:ext cx="12192001" cy="5025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12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Helvetica Neue"/>
              </a:rPr>
              <a:t>Please make sure that page numbers, graphic patterns, legal, and the logo bug are all visible over images.</a:t>
            </a:r>
            <a:endParaRPr sz="1200" b="0" i="0" u="none" strike="noStrike" cap="none">
              <a:solidFill>
                <a:schemeClr val="tx1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  <a:sym typeface="Helvetica Neue"/>
            </a:endParaRPr>
          </a:p>
        </p:txBody>
      </p:sp>
      <p:pic>
        <p:nvPicPr>
          <p:cNvPr id="14" name="Google Shape;246;p40">
            <a:extLst>
              <a:ext uri="{FF2B5EF4-FFF2-40B4-BE49-F238E27FC236}">
                <a16:creationId xmlns:a16="http://schemas.microsoft.com/office/drawing/2014/main" id="{26E1E9E5-73FE-B34D-B602-67BA32A6FD44}"/>
              </a:ext>
            </a:extLst>
          </p:cNvPr>
          <p:cNvPicPr preferRelativeResize="0"/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6460" y="6355008"/>
            <a:ext cx="365760" cy="3657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Google Shape;131;p29">
            <a:extLst>
              <a:ext uri="{FF2B5EF4-FFF2-40B4-BE49-F238E27FC236}">
                <a16:creationId xmlns:a16="http://schemas.microsoft.com/office/drawing/2014/main" id="{925DFFA0-2E05-C74C-9D8E-058A96D6194D}"/>
              </a:ext>
            </a:extLst>
          </p:cNvPr>
          <p:cNvPicPr preferRelativeResize="0"/>
          <p:nvPr userDrawn="1"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19102" y="0"/>
            <a:ext cx="2971798" cy="289418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C045360-E5CB-9146-8F50-F39697FA9247}"/>
              </a:ext>
            </a:extLst>
          </p:cNvPr>
          <p:cNvSpPr/>
          <p:nvPr userDrawn="1"/>
        </p:nvSpPr>
        <p:spPr>
          <a:xfrm>
            <a:off x="-14918" y="7697782"/>
            <a:ext cx="12192000" cy="2031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statement slides make long presentations easier to follow, serving as visual breaks in your presentation.</a:t>
            </a:r>
          </a:p>
        </p:txBody>
      </p:sp>
    </p:spTree>
    <p:extLst>
      <p:ext uri="{BB962C8B-B14F-4D97-AF65-F5344CB8AC3E}">
        <p14:creationId xmlns:p14="http://schemas.microsoft.com/office/powerpoint/2010/main" val="13210821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0ED602-E314-A946-9574-9E4B113AC2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100" y="502785"/>
            <a:ext cx="11353800" cy="5864256"/>
          </a:xfrm>
        </p:spPr>
        <p:txBody>
          <a:bodyPr lIns="0" tIns="0" rIns="0" bIns="0" anchor="ctr">
            <a:no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KEY STATEMENT</a:t>
            </a:r>
            <a:br>
              <a:rPr lang="en-US"/>
            </a:br>
            <a:r>
              <a:rPr lang="en-US"/>
              <a:t>OVER RED</a:t>
            </a:r>
          </a:p>
        </p:txBody>
      </p:sp>
      <p:sp>
        <p:nvSpPr>
          <p:cNvPr id="8" name="Google Shape;135;p29">
            <a:extLst>
              <a:ext uri="{FF2B5EF4-FFF2-40B4-BE49-F238E27FC236}">
                <a16:creationId xmlns:a16="http://schemas.microsoft.com/office/drawing/2014/main" id="{B5322F6A-B753-B345-B06B-30A15290EC5C}"/>
              </a:ext>
            </a:extLst>
          </p:cNvPr>
          <p:cNvSpPr txBox="1"/>
          <p:nvPr userDrawn="1"/>
        </p:nvSpPr>
        <p:spPr>
          <a:xfrm>
            <a:off x="419100" y="6342976"/>
            <a:ext cx="3666875" cy="4996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© MOMENTUM WORLDWIDE 2020 IN CONFIDENCE. </a:t>
            </a:r>
            <a:b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</a:br>
            <a: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THIS DOCUMENT MAY NOT BE DISTRIBUTED OR COPIED WITHOUT PRIOR CONSENT.</a:t>
            </a:r>
            <a:endParaRPr sz="600" b="0" i="0" u="none" strike="noStrike" cap="none">
              <a:solidFill>
                <a:srgbClr val="FFFFFF"/>
              </a:solidFill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EEEEEC9-5554-964E-A3DA-B9C1880B7D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5910" y="13765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8A7D70B-BA5B-454D-9E9C-85AA311AB73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Google Shape;61;p15">
            <a:extLst>
              <a:ext uri="{FF2B5EF4-FFF2-40B4-BE49-F238E27FC236}">
                <a16:creationId xmlns:a16="http://schemas.microsoft.com/office/drawing/2014/main" id="{0E8B56F7-1C16-C344-82B3-8596DE309345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4056" y="6367040"/>
            <a:ext cx="365760" cy="3657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Google Shape;131;p29">
            <a:extLst>
              <a:ext uri="{FF2B5EF4-FFF2-40B4-BE49-F238E27FC236}">
                <a16:creationId xmlns:a16="http://schemas.microsoft.com/office/drawing/2014/main" id="{098D513B-14E7-0447-8E60-640A118ECA34}"/>
              </a:ext>
            </a:extLst>
          </p:cNvPr>
          <p:cNvPicPr preferRelativeResize="0"/>
          <p:nvPr userDrawn="1"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19102" y="0"/>
            <a:ext cx="2971798" cy="289418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7D473EB0-4327-674B-9398-FF1D2067639F}"/>
              </a:ext>
            </a:extLst>
          </p:cNvPr>
          <p:cNvSpPr/>
          <p:nvPr userDrawn="1"/>
        </p:nvSpPr>
        <p:spPr>
          <a:xfrm>
            <a:off x="-14918" y="7503812"/>
            <a:ext cx="12192000" cy="2031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statement slides make long presentations easier to follow, serving as visual breaks in your presentation.</a:t>
            </a:r>
          </a:p>
        </p:txBody>
      </p:sp>
    </p:spTree>
    <p:extLst>
      <p:ext uri="{BB962C8B-B14F-4D97-AF65-F5344CB8AC3E}">
        <p14:creationId xmlns:p14="http://schemas.microsoft.com/office/powerpoint/2010/main" val="9667544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0ED602-E314-A946-9574-9E4B113AC2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100" y="502785"/>
            <a:ext cx="11353800" cy="5859916"/>
          </a:xfrm>
        </p:spPr>
        <p:txBody>
          <a:bodyPr lIns="0" tIns="0" rIns="0" bIns="0" anchor="ctr">
            <a:no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KEY STATEMENT</a:t>
            </a:r>
            <a:br>
              <a:rPr lang="en-US"/>
            </a:br>
            <a:r>
              <a:rPr lang="en-US"/>
              <a:t>OVER BLACK</a:t>
            </a:r>
          </a:p>
        </p:txBody>
      </p:sp>
      <p:sp>
        <p:nvSpPr>
          <p:cNvPr id="8" name="Google Shape;135;p29">
            <a:extLst>
              <a:ext uri="{FF2B5EF4-FFF2-40B4-BE49-F238E27FC236}">
                <a16:creationId xmlns:a16="http://schemas.microsoft.com/office/drawing/2014/main" id="{B5322F6A-B753-B345-B06B-30A15290EC5C}"/>
              </a:ext>
            </a:extLst>
          </p:cNvPr>
          <p:cNvSpPr txBox="1"/>
          <p:nvPr userDrawn="1"/>
        </p:nvSpPr>
        <p:spPr>
          <a:xfrm>
            <a:off x="419100" y="6362700"/>
            <a:ext cx="3666875" cy="479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© MOMENTUM WORLDWIDE 2021 IN CONFIDENCE. </a:t>
            </a:r>
            <a:b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</a:br>
            <a: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THIS DOCUMENT MAY NOT BE DISTRIBUTED OR COPIED WITHOUT PRIOR CONSENT.</a:t>
            </a:r>
            <a:endParaRPr sz="600" b="0" i="0" u="none" strike="noStrike" cap="none">
              <a:solidFill>
                <a:srgbClr val="FFFFFF"/>
              </a:solidFill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EEEEEC9-5554-964E-A3DA-B9C1880B7D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5910" y="13765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8A7D70B-BA5B-454D-9E9C-85AA311AB73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oogle Shape;246;p40">
            <a:extLst>
              <a:ext uri="{FF2B5EF4-FFF2-40B4-BE49-F238E27FC236}">
                <a16:creationId xmlns:a16="http://schemas.microsoft.com/office/drawing/2014/main" id="{86158CA5-6E24-4E4D-B6FA-C8A6FC13271E}"/>
              </a:ext>
            </a:extLst>
          </p:cNvPr>
          <p:cNvPicPr preferRelativeResize="0"/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6460" y="6355008"/>
            <a:ext cx="365760" cy="3657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Google Shape;131;p29">
            <a:extLst>
              <a:ext uri="{FF2B5EF4-FFF2-40B4-BE49-F238E27FC236}">
                <a16:creationId xmlns:a16="http://schemas.microsoft.com/office/drawing/2014/main" id="{D107D57D-EB0A-DE4D-83D8-845896B7B44F}"/>
              </a:ext>
            </a:extLst>
          </p:cNvPr>
          <p:cNvPicPr preferRelativeResize="0"/>
          <p:nvPr userDrawn="1"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19102" y="0"/>
            <a:ext cx="2971798" cy="289418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A4AA850-210D-2D4A-AC92-B83CD8B22F72}"/>
              </a:ext>
            </a:extLst>
          </p:cNvPr>
          <p:cNvSpPr/>
          <p:nvPr userDrawn="1"/>
        </p:nvSpPr>
        <p:spPr>
          <a:xfrm>
            <a:off x="-14918" y="7503812"/>
            <a:ext cx="12192000" cy="2031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statement slides make long presentations easier to follow, serving as visual breaks in your presentation.</a:t>
            </a:r>
          </a:p>
        </p:txBody>
      </p:sp>
    </p:spTree>
    <p:extLst>
      <p:ext uri="{BB962C8B-B14F-4D97-AF65-F5344CB8AC3E}">
        <p14:creationId xmlns:p14="http://schemas.microsoft.com/office/powerpoint/2010/main" val="211638005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0ED602-E314-A946-9574-9E4B113AC2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100" y="502783"/>
            <a:ext cx="11353800" cy="5859917"/>
          </a:xfrm>
        </p:spPr>
        <p:txBody>
          <a:bodyPr lIns="0" tIns="0" rIns="0" bIns="0" anchor="ctr">
            <a:noAutofit/>
          </a:bodyPr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KEY STATEMENT</a:t>
            </a:r>
            <a:br>
              <a:rPr lang="en-US"/>
            </a:br>
            <a:r>
              <a:rPr lang="en-US"/>
              <a:t>OVER WHITE</a:t>
            </a:r>
          </a:p>
        </p:txBody>
      </p:sp>
      <p:sp>
        <p:nvSpPr>
          <p:cNvPr id="8" name="Google Shape;135;p29">
            <a:extLst>
              <a:ext uri="{FF2B5EF4-FFF2-40B4-BE49-F238E27FC236}">
                <a16:creationId xmlns:a16="http://schemas.microsoft.com/office/drawing/2014/main" id="{B5322F6A-B753-B345-B06B-30A15290EC5C}"/>
              </a:ext>
            </a:extLst>
          </p:cNvPr>
          <p:cNvSpPr txBox="1"/>
          <p:nvPr userDrawn="1"/>
        </p:nvSpPr>
        <p:spPr>
          <a:xfrm>
            <a:off x="419100" y="6362700"/>
            <a:ext cx="3666875" cy="479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© MOMENTUM WORLDWIDE 2020 IN CONFIDENCE. </a:t>
            </a:r>
            <a:b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</a:br>
            <a: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THIS DOCUMENT MAY NOT BE DISTRIBUTED OR COPIED WITHOUT PRIOR CONSENT.</a:t>
            </a:r>
            <a:endParaRPr sz="600" b="0" i="0" u="none" strike="noStrike" cap="none">
              <a:solidFill>
                <a:schemeClr val="tx1"/>
              </a:solidFill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EEEEEC9-5554-964E-A3DA-B9C1880B7D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5910" y="13765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8A7D70B-BA5B-454D-9E9C-85AA311AB73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oogle Shape;61;p15">
            <a:extLst>
              <a:ext uri="{FF2B5EF4-FFF2-40B4-BE49-F238E27FC236}">
                <a16:creationId xmlns:a16="http://schemas.microsoft.com/office/drawing/2014/main" id="{F1B974A8-CD3A-6348-9881-5C1533034BF3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4056" y="6367040"/>
            <a:ext cx="365760" cy="3657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Google Shape;131;p29">
            <a:extLst>
              <a:ext uri="{FF2B5EF4-FFF2-40B4-BE49-F238E27FC236}">
                <a16:creationId xmlns:a16="http://schemas.microsoft.com/office/drawing/2014/main" id="{71B6B9FB-69CE-7C43-BE06-71DCF4228E11}"/>
              </a:ext>
            </a:extLst>
          </p:cNvPr>
          <p:cNvPicPr preferRelativeResize="0"/>
          <p:nvPr userDrawn="1"/>
        </p:nvPicPr>
        <p:blipFill rotWithShape="1">
          <a:blip r:embed="rId3" cstate="screen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19102" y="0"/>
            <a:ext cx="2971798" cy="289418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995FC2A-04AC-144C-8CE2-2B5037B92DCB}"/>
              </a:ext>
            </a:extLst>
          </p:cNvPr>
          <p:cNvSpPr/>
          <p:nvPr userDrawn="1"/>
        </p:nvSpPr>
        <p:spPr>
          <a:xfrm>
            <a:off x="-14918" y="7503812"/>
            <a:ext cx="12192000" cy="2031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statement slides make long presentations easier to follow, serving as visual breaks in your presentation.</a:t>
            </a:r>
          </a:p>
        </p:txBody>
      </p:sp>
    </p:spTree>
    <p:extLst>
      <p:ext uri="{BB962C8B-B14F-4D97-AF65-F5344CB8AC3E}">
        <p14:creationId xmlns:p14="http://schemas.microsoft.com/office/powerpoint/2010/main" val="150108475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135;p29">
            <a:extLst>
              <a:ext uri="{FF2B5EF4-FFF2-40B4-BE49-F238E27FC236}">
                <a16:creationId xmlns:a16="http://schemas.microsoft.com/office/drawing/2014/main" id="{1AB9DE18-1767-C14D-BE3D-83A6E79FEBC2}"/>
              </a:ext>
            </a:extLst>
          </p:cNvPr>
          <p:cNvSpPr txBox="1"/>
          <p:nvPr userDrawn="1"/>
        </p:nvSpPr>
        <p:spPr>
          <a:xfrm>
            <a:off x="419100" y="6362700"/>
            <a:ext cx="3666875" cy="479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© MOMENTUM WORLDWIDE 2021 IN CONFIDENCE. </a:t>
            </a:r>
            <a:b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</a:br>
            <a: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THIS DOCUMENT MAY NOT BE DISTRIBUTED OR COPIED WITHOUT PRIOR CONSENT.</a:t>
            </a:r>
            <a:endParaRPr sz="600" b="0" i="0" u="none" strike="noStrike" cap="none">
              <a:solidFill>
                <a:srgbClr val="FFFFFF"/>
              </a:solidFill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45564E2-CDD9-3248-AC02-2C4420E009D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0" y="1992070"/>
            <a:ext cx="10477500" cy="2900363"/>
          </a:xfrm>
        </p:spPr>
        <p:txBody>
          <a:bodyPr lIns="0" tIns="0" rIns="0" bIns="0" anchor="ctr">
            <a:normAutofit/>
          </a:bodyPr>
          <a:lstStyle>
            <a:lvl1pPr algn="l"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12" name="Google Shape;136;p29">
            <a:extLst>
              <a:ext uri="{FF2B5EF4-FFF2-40B4-BE49-F238E27FC236}">
                <a16:creationId xmlns:a16="http://schemas.microsoft.com/office/drawing/2014/main" id="{2964BD76-1804-1D41-94CE-842EFA7DED48}"/>
              </a:ext>
            </a:extLst>
          </p:cNvPr>
          <p:cNvPicPr preferRelativeResize="0"/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2565" y="235381"/>
            <a:ext cx="913550" cy="117463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Google Shape;246;p40">
            <a:extLst>
              <a:ext uri="{FF2B5EF4-FFF2-40B4-BE49-F238E27FC236}">
                <a16:creationId xmlns:a16="http://schemas.microsoft.com/office/drawing/2014/main" id="{92264890-E83C-0F47-946E-C95ABDD6E92C}"/>
              </a:ext>
            </a:extLst>
          </p:cNvPr>
          <p:cNvPicPr preferRelativeResize="0"/>
          <p:nvPr userDrawn="1"/>
        </p:nvPicPr>
        <p:blipFill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6460" y="6355008"/>
            <a:ext cx="365760" cy="3657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Google Shape;131;p29">
            <a:extLst>
              <a:ext uri="{FF2B5EF4-FFF2-40B4-BE49-F238E27FC236}">
                <a16:creationId xmlns:a16="http://schemas.microsoft.com/office/drawing/2014/main" id="{1F3895E6-7FC7-914C-A9A3-403E623C1AB3}"/>
              </a:ext>
            </a:extLst>
          </p:cNvPr>
          <p:cNvPicPr preferRelativeResize="0"/>
          <p:nvPr userDrawn="1"/>
        </p:nvPicPr>
        <p:blipFill rotWithShape="1"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10540085" y="3224886"/>
            <a:ext cx="2884729" cy="4190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122444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DC8A6AF-6806-BE43-AC76-40259F290B3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3897443" cy="6857999"/>
          </a:xfrm>
          <a:custGeom>
            <a:avLst/>
            <a:gdLst>
              <a:gd name="connsiteX0" fmla="*/ 0 w 3897443"/>
              <a:gd name="connsiteY0" fmla="*/ 0 h 6857999"/>
              <a:gd name="connsiteX1" fmla="*/ 3897443 w 3897443"/>
              <a:gd name="connsiteY1" fmla="*/ 0 h 6857999"/>
              <a:gd name="connsiteX2" fmla="*/ 3897443 w 3897443"/>
              <a:gd name="connsiteY2" fmla="*/ 6857999 h 6857999"/>
              <a:gd name="connsiteX3" fmla="*/ 0 w 3897443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97443" h="6857999">
                <a:moveTo>
                  <a:pt x="0" y="0"/>
                </a:moveTo>
                <a:lnTo>
                  <a:pt x="3897443" y="0"/>
                </a:lnTo>
                <a:lnTo>
                  <a:pt x="3897443" y="6857999"/>
                </a:lnTo>
                <a:lnTo>
                  <a:pt x="0" y="6857999"/>
                </a:lnTo>
                <a:close/>
              </a:path>
            </a:pathLst>
          </a:custGeom>
          <a:pattFill prst="solidDmnd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542865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5752558"/>
              </p:ext>
            </p:ext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1" y="6791113"/>
            <a:ext cx="12192000" cy="66887"/>
          </a:xfrm>
          <a:prstGeom prst="rect">
            <a:avLst/>
          </a:prstGeom>
          <a:gradFill>
            <a:gsLst>
              <a:gs pos="0">
                <a:schemeClr val="accent3"/>
              </a:gs>
              <a:gs pos="51000">
                <a:schemeClr val="accent4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Rectangle 12"/>
          <p:cNvSpPr/>
          <p:nvPr userDrawn="1"/>
        </p:nvSpPr>
        <p:spPr>
          <a:xfrm>
            <a:off x="11465056" y="6385302"/>
            <a:ext cx="391937" cy="4726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007" y="510386"/>
            <a:ext cx="11521987" cy="470770"/>
          </a:xfrm>
        </p:spPr>
        <p:txBody>
          <a:bodyPr lIns="0" tIns="0" rIns="0" bIns="0" anchor="t" anchorCtr="0">
            <a:spAutoFit/>
          </a:bodyPr>
          <a:lstStyle>
            <a:lvl1pPr>
              <a:defRPr sz="3599" b="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5007" y="1616113"/>
            <a:ext cx="11521987" cy="4560851"/>
          </a:xfrm>
        </p:spPr>
        <p:txBody>
          <a:bodyPr>
            <a:normAutofit/>
          </a:bodyPr>
          <a:lstStyle>
            <a:lvl1pPr>
              <a:defRPr sz="1400"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5007" y="6452189"/>
            <a:ext cx="2743200" cy="365125"/>
          </a:xfrm>
        </p:spPr>
        <p:txBody>
          <a:bodyPr/>
          <a:lstStyle>
            <a:lvl1pPr>
              <a:defRPr sz="1000"/>
            </a:lvl1pPr>
          </a:lstStyle>
          <a:p>
            <a:fld id="{C8EAA725-CC0B-4A16-AE77-83A5B67A2992}" type="datetime1">
              <a:rPr lang="en-US" smtClean="0"/>
              <a:t>2/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1" y="6452189"/>
            <a:ext cx="4114800" cy="365125"/>
          </a:xfrm>
        </p:spPr>
        <p:txBody>
          <a:bodyPr/>
          <a:lstStyle>
            <a:lvl1pPr>
              <a:defRPr sz="1000"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65056" y="6452189"/>
            <a:ext cx="391937" cy="365125"/>
          </a:xfrm>
        </p:spPr>
        <p:txBody>
          <a:bodyPr/>
          <a:lstStyle>
            <a:lvl1pPr algn="ctr">
              <a:defRPr sz="1000">
                <a:solidFill>
                  <a:schemeClr val="accent4"/>
                </a:solidFill>
              </a:defRPr>
            </a:lvl1pPr>
          </a:lstStyle>
          <a:p>
            <a:fld id="{B1EEA229-0096-49BD-81C1-58B039421B7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/>
          <p:cNvSpPr/>
          <p:nvPr userDrawn="1"/>
        </p:nvSpPr>
        <p:spPr>
          <a:xfrm>
            <a:off x="335007" y="319417"/>
            <a:ext cx="793582" cy="8530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9" tIns="45709" rIns="91419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5" name="Rectangle 14"/>
          <p:cNvSpPr/>
          <p:nvPr userDrawn="1"/>
        </p:nvSpPr>
        <p:spPr>
          <a:xfrm>
            <a:off x="1128589" y="319417"/>
            <a:ext cx="216018" cy="853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9" tIns="45709" rIns="91419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6" name="Rectangle 15"/>
          <p:cNvSpPr/>
          <p:nvPr userDrawn="1"/>
        </p:nvSpPr>
        <p:spPr>
          <a:xfrm>
            <a:off x="1560626" y="319417"/>
            <a:ext cx="216018" cy="8530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9" tIns="45709" rIns="91419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7" name="Rectangle 16"/>
          <p:cNvSpPr/>
          <p:nvPr userDrawn="1"/>
        </p:nvSpPr>
        <p:spPr>
          <a:xfrm>
            <a:off x="1344607" y="319417"/>
            <a:ext cx="216018" cy="8530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9" tIns="45709" rIns="91419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9" name="Text Placeholder 8"/>
          <p:cNvSpPr>
            <a:spLocks noGrp="1"/>
          </p:cNvSpPr>
          <p:nvPr userDrawn="1">
            <p:ph type="body" sz="quarter" idx="13"/>
          </p:nvPr>
        </p:nvSpPr>
        <p:spPr>
          <a:xfrm>
            <a:off x="335007" y="1001704"/>
            <a:ext cx="11521987" cy="317426"/>
          </a:xfrm>
        </p:spPr>
        <p:txBody>
          <a:bodyPr lIns="0" tIns="0" rIns="0" bIns="0">
            <a:noAutofit/>
          </a:bodyPr>
          <a:lstStyle>
            <a:lvl1pPr marL="0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b="0" kern="1200" dirty="0" smtClean="0">
                <a:solidFill>
                  <a:schemeClr val="accent5"/>
                </a:solidFill>
                <a:latin typeface="+mn-lt"/>
                <a:ea typeface="+mj-ea"/>
                <a:cs typeface="+mj-cs"/>
              </a:defRPr>
            </a:lvl1pPr>
            <a:lvl2pPr marL="457063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2pPr>
            <a:lvl3pPr marL="914126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3pPr>
            <a:lvl4pPr marL="1371189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4pPr>
            <a:lvl5pPr marL="1828251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99" b="0" kern="1200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00374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  <p15:guide id="2" pos="211">
          <p15:clr>
            <a:srgbClr val="FBAE40"/>
          </p15:clr>
        </p15:guide>
        <p15:guide id="3" pos="7468">
          <p15:clr>
            <a:srgbClr val="FBAE40"/>
          </p15:clr>
        </p15:guide>
        <p15:guide id="4" orient="horz" pos="9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/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slide">
  <p:cSld name="Cover slide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3"/>
          <p:cNvSpPr txBox="1">
            <a:spLocks noGrp="1"/>
          </p:cNvSpPr>
          <p:nvPr>
            <p:ph type="ctrTitle"/>
          </p:nvPr>
        </p:nvSpPr>
        <p:spPr>
          <a:xfrm>
            <a:off x="609600" y="617431"/>
            <a:ext cx="83624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Verizon NHG DS"/>
              <a:buNone/>
              <a:defRPr sz="8000" b="1" i="0">
                <a:latin typeface="Verizon NHG DS"/>
                <a:ea typeface="Verizon NHG DS"/>
                <a:cs typeface="Verizon NHG DS"/>
                <a:sym typeface="Verizon NHG D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13"/>
          <p:cNvSpPr txBox="1">
            <a:spLocks noGrp="1"/>
          </p:cNvSpPr>
          <p:nvPr>
            <p:ph type="subTitle" idx="1"/>
          </p:nvPr>
        </p:nvSpPr>
        <p:spPr>
          <a:xfrm>
            <a:off x="609600" y="3055831"/>
            <a:ext cx="5486400" cy="18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Verizon NHG TX"/>
              <a:buNone/>
              <a:defRPr sz="2667" b="0" i="0">
                <a:solidFill>
                  <a:schemeClr val="dk1"/>
                </a:solidFill>
                <a:latin typeface="Verizon NHG TX"/>
                <a:ea typeface="Verizon NHG TX"/>
                <a:cs typeface="Verizon NHG TX"/>
                <a:sym typeface="Verizon NHG TX"/>
              </a:defRPr>
            </a:lvl1pPr>
            <a:lvl2pPr lvl="1" algn="l" rtl="0">
              <a:lnSpc>
                <a:spcPct val="8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Verizon NHG TX"/>
              <a:buNone/>
              <a:defRPr sz="2667" b="1">
                <a:solidFill>
                  <a:schemeClr val="dk1"/>
                </a:solidFill>
              </a:defRPr>
            </a:lvl2pPr>
            <a:lvl3pPr lvl="2" algn="l" rtl="0">
              <a:lnSpc>
                <a:spcPct val="8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667" b="1">
                <a:solidFill>
                  <a:schemeClr val="dk1"/>
                </a:solidFill>
              </a:defRPr>
            </a:lvl3pPr>
            <a:lvl4pPr lvl="3" algn="l" rtl="0">
              <a:lnSpc>
                <a:spcPct val="8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667" b="1">
                <a:solidFill>
                  <a:schemeClr val="dk1"/>
                </a:solidFill>
              </a:defRPr>
            </a:lvl4pPr>
            <a:lvl5pPr lvl="4" algn="l" rtl="0">
              <a:lnSpc>
                <a:spcPct val="8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667" b="1">
                <a:solidFill>
                  <a:schemeClr val="dk1"/>
                </a:solidFill>
              </a:defRPr>
            </a:lvl5pPr>
            <a:lvl6pPr lvl="5" algn="l" rtl="0">
              <a:lnSpc>
                <a:spcPct val="8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667" b="1">
                <a:solidFill>
                  <a:schemeClr val="dk1"/>
                </a:solidFill>
              </a:defRPr>
            </a:lvl6pPr>
            <a:lvl7pPr lvl="6" algn="l" rtl="0">
              <a:lnSpc>
                <a:spcPct val="8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667" b="1">
                <a:solidFill>
                  <a:schemeClr val="dk1"/>
                </a:solidFill>
              </a:defRPr>
            </a:lvl7pPr>
            <a:lvl8pPr lvl="7" algn="l" rtl="0">
              <a:lnSpc>
                <a:spcPct val="8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667" b="1">
                <a:solidFill>
                  <a:schemeClr val="dk1"/>
                </a:solidFill>
              </a:defRPr>
            </a:lvl8pPr>
            <a:lvl9pPr lvl="8" algn="l" rtl="0">
              <a:lnSpc>
                <a:spcPct val="80000"/>
              </a:lnSpc>
              <a:spcBef>
                <a:spcPts val="1600"/>
              </a:spcBef>
              <a:spcAft>
                <a:spcPts val="1600"/>
              </a:spcAft>
              <a:buClr>
                <a:schemeClr val="dk1"/>
              </a:buClr>
              <a:buSzPts val="2000"/>
              <a:buNone/>
              <a:defRPr sz="2667" b="1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955638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4"/>
          <p:cNvSpPr txBox="1">
            <a:spLocks noGrp="1"/>
          </p:cNvSpPr>
          <p:nvPr>
            <p:ph type="title"/>
          </p:nvPr>
        </p:nvSpPr>
        <p:spPr>
          <a:xfrm>
            <a:off x="609600" y="792480"/>
            <a:ext cx="9448800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erizon NHG DS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5" name="Google Shape;55;p14"/>
          <p:cNvSpPr txBox="1">
            <a:spLocks noGrp="1"/>
          </p:cNvSpPr>
          <p:nvPr>
            <p:ph type="body" idx="1"/>
          </p:nvPr>
        </p:nvSpPr>
        <p:spPr>
          <a:xfrm>
            <a:off x="609600" y="1946107"/>
            <a:ext cx="9448800" cy="39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440256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Verizon NHG DS"/>
              <a:buAutoNum type="arabicPeriod"/>
              <a:defRPr sz="2133"/>
            </a:lvl1pPr>
            <a:lvl2pPr marL="1219170" lvl="1" indent="-457189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800"/>
              <a:buChar char="○"/>
              <a:defRPr/>
            </a:lvl2pPr>
            <a:lvl3pPr marL="1828754" lvl="2" indent="-457189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800"/>
              <a:buChar char="■"/>
              <a:defRPr/>
            </a:lvl3pPr>
            <a:lvl4pPr marL="2438339" lvl="3" indent="-457189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4pPr>
            <a:lvl5pPr marL="3047924" lvl="4" indent="-457189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800"/>
              <a:buChar char="○"/>
              <a:defRPr/>
            </a:lvl5pPr>
            <a:lvl6pPr marL="3657509" lvl="5" indent="-457189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800"/>
              <a:buChar char="■"/>
              <a:defRPr/>
            </a:lvl6pPr>
            <a:lvl7pPr marL="4267093" lvl="6" indent="-457189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7pPr>
            <a:lvl8pPr marL="4876678" lvl="7" indent="-457189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800"/>
              <a:buChar char="○"/>
              <a:defRPr/>
            </a:lvl8pPr>
            <a:lvl9pPr marL="5486263" lvl="8" indent="-406390" algn="l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Clr>
                <a:schemeClr val="dk1"/>
              </a:buClr>
              <a:buSzPts val="1200"/>
              <a:buChar char="■"/>
              <a:defRPr/>
            </a:lvl9pPr>
          </a:lstStyle>
          <a:p>
            <a:endParaRPr/>
          </a:p>
        </p:txBody>
      </p:sp>
      <p:sp>
        <p:nvSpPr>
          <p:cNvPr id="56" name="Google Shape;56;p14"/>
          <p:cNvSpPr txBox="1">
            <a:spLocks noGrp="1"/>
          </p:cNvSpPr>
          <p:nvPr>
            <p:ph type="sldNum" idx="12"/>
          </p:nvPr>
        </p:nvSpPr>
        <p:spPr>
          <a:xfrm>
            <a:off x="11277600" y="6266688"/>
            <a:ext cx="304800" cy="3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marL="0" lvl="0" indent="0" algn="r" rtl="0">
              <a:spcBef>
                <a:spcPts val="0"/>
              </a:spcBef>
              <a:buNone/>
              <a:defRPr sz="933" b="1">
                <a:solidFill>
                  <a:schemeClr val="dk1"/>
                </a:solidFill>
                <a:latin typeface="Verizon NHG DS"/>
                <a:ea typeface="Verizon NHG DS"/>
                <a:cs typeface="Verizon NHG DS"/>
                <a:sym typeface="Verizon NHG DS"/>
              </a:defRPr>
            </a:lvl1pPr>
            <a:lvl2pPr marL="0" lvl="1" indent="0" algn="r" rtl="0">
              <a:spcBef>
                <a:spcPts val="0"/>
              </a:spcBef>
              <a:buNone/>
              <a:defRPr sz="933" b="1">
                <a:solidFill>
                  <a:schemeClr val="dk1"/>
                </a:solidFill>
                <a:latin typeface="Verizon NHG DS"/>
                <a:ea typeface="Verizon NHG DS"/>
                <a:cs typeface="Verizon NHG DS"/>
                <a:sym typeface="Verizon NHG DS"/>
              </a:defRPr>
            </a:lvl2pPr>
            <a:lvl3pPr marL="0" lvl="2" indent="0" algn="r" rtl="0">
              <a:spcBef>
                <a:spcPts val="0"/>
              </a:spcBef>
              <a:buNone/>
              <a:defRPr sz="933" b="1">
                <a:solidFill>
                  <a:schemeClr val="dk1"/>
                </a:solidFill>
                <a:latin typeface="Verizon NHG DS"/>
                <a:ea typeface="Verizon NHG DS"/>
                <a:cs typeface="Verizon NHG DS"/>
                <a:sym typeface="Verizon NHG DS"/>
              </a:defRPr>
            </a:lvl3pPr>
            <a:lvl4pPr marL="0" lvl="3" indent="0" algn="r" rtl="0">
              <a:spcBef>
                <a:spcPts val="0"/>
              </a:spcBef>
              <a:buNone/>
              <a:defRPr sz="933" b="1">
                <a:solidFill>
                  <a:schemeClr val="dk1"/>
                </a:solidFill>
                <a:latin typeface="Verizon NHG DS"/>
                <a:ea typeface="Verizon NHG DS"/>
                <a:cs typeface="Verizon NHG DS"/>
                <a:sym typeface="Verizon NHG DS"/>
              </a:defRPr>
            </a:lvl4pPr>
            <a:lvl5pPr marL="0" lvl="4" indent="0" algn="r" rtl="0">
              <a:spcBef>
                <a:spcPts val="0"/>
              </a:spcBef>
              <a:buNone/>
              <a:defRPr sz="933" b="1">
                <a:solidFill>
                  <a:schemeClr val="dk1"/>
                </a:solidFill>
                <a:latin typeface="Verizon NHG DS"/>
                <a:ea typeface="Verizon NHG DS"/>
                <a:cs typeface="Verizon NHG DS"/>
                <a:sym typeface="Verizon NHG DS"/>
              </a:defRPr>
            </a:lvl5pPr>
            <a:lvl6pPr marL="0" lvl="5" indent="0" algn="r" rtl="0">
              <a:spcBef>
                <a:spcPts val="0"/>
              </a:spcBef>
              <a:buNone/>
              <a:defRPr sz="933" b="1">
                <a:solidFill>
                  <a:schemeClr val="dk1"/>
                </a:solidFill>
                <a:latin typeface="Verizon NHG DS"/>
                <a:ea typeface="Verizon NHG DS"/>
                <a:cs typeface="Verizon NHG DS"/>
                <a:sym typeface="Verizon NHG DS"/>
              </a:defRPr>
            </a:lvl6pPr>
            <a:lvl7pPr marL="0" lvl="6" indent="0" algn="r" rtl="0">
              <a:spcBef>
                <a:spcPts val="0"/>
              </a:spcBef>
              <a:buNone/>
              <a:defRPr sz="933" b="1">
                <a:solidFill>
                  <a:schemeClr val="dk1"/>
                </a:solidFill>
                <a:latin typeface="Verizon NHG DS"/>
                <a:ea typeface="Verizon NHG DS"/>
                <a:cs typeface="Verizon NHG DS"/>
                <a:sym typeface="Verizon NHG DS"/>
              </a:defRPr>
            </a:lvl7pPr>
            <a:lvl8pPr marL="0" lvl="7" indent="0" algn="r" rtl="0">
              <a:spcBef>
                <a:spcPts val="0"/>
              </a:spcBef>
              <a:buNone/>
              <a:defRPr sz="933" b="1">
                <a:solidFill>
                  <a:schemeClr val="dk1"/>
                </a:solidFill>
                <a:latin typeface="Verizon NHG DS"/>
                <a:ea typeface="Verizon NHG DS"/>
                <a:cs typeface="Verizon NHG DS"/>
                <a:sym typeface="Verizon NHG DS"/>
              </a:defRPr>
            </a:lvl8pPr>
            <a:lvl9pPr marL="0" lvl="8" indent="0" algn="r" rtl="0">
              <a:spcBef>
                <a:spcPts val="0"/>
              </a:spcBef>
              <a:buNone/>
              <a:defRPr sz="933" b="1">
                <a:solidFill>
                  <a:schemeClr val="dk1"/>
                </a:solidFill>
                <a:latin typeface="Verizon NHG DS"/>
                <a:ea typeface="Verizon NHG DS"/>
                <a:cs typeface="Verizon NHG DS"/>
                <a:sym typeface="Verizon NHG DS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cxnSp>
        <p:nvCxnSpPr>
          <p:cNvPr id="57" name="Google Shape;57;p14"/>
          <p:cNvCxnSpPr/>
          <p:nvPr/>
        </p:nvCxnSpPr>
        <p:spPr>
          <a:xfrm>
            <a:off x="609600" y="609600"/>
            <a:ext cx="10972800" cy="0"/>
          </a:xfrm>
          <a:prstGeom prst="straightConnector1">
            <a:avLst/>
          </a:prstGeom>
          <a:noFill/>
          <a:ln w="476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6031907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/7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/7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/7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/7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/7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/7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2/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98" r:id="rId2"/>
    <p:sldLayoutId id="2147483695" r:id="rId3"/>
    <p:sldLayoutId id="2147483696" r:id="rId4"/>
    <p:sldLayoutId id="2147483693" r:id="rId5"/>
    <p:sldLayoutId id="2147483702" r:id="rId6"/>
    <p:sldLayoutId id="2147483694" r:id="rId7"/>
    <p:sldLayoutId id="2147483699" r:id="rId8"/>
    <p:sldLayoutId id="2147483700" r:id="rId9"/>
    <p:sldLayoutId id="2147483701" r:id="rId10"/>
    <p:sldLayoutId id="214748369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0EE2858-06F6-E845-A5E6-D742407A33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0" y="495301"/>
            <a:ext cx="11353800" cy="91439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BCFE26-3B7A-DF48-9126-B2DF9FEF74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9100" y="1485901"/>
            <a:ext cx="11353800" cy="487679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50FCF4-9159-0C44-AC0F-17B414A7E4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3709" y="16974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defRPr>
            </a:lvl1pPr>
          </a:lstStyle>
          <a:p>
            <a:fld id="{28A7D70B-BA5B-454D-9E9C-85AA311AB73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Google Shape;135;p29">
            <a:extLst>
              <a:ext uri="{FF2B5EF4-FFF2-40B4-BE49-F238E27FC236}">
                <a16:creationId xmlns:a16="http://schemas.microsoft.com/office/drawing/2014/main" id="{9AE3BA6C-2E48-854D-A7F1-34357C9B19FE}"/>
              </a:ext>
            </a:extLst>
          </p:cNvPr>
          <p:cNvSpPr txBox="1"/>
          <p:nvPr userDrawn="1"/>
        </p:nvSpPr>
        <p:spPr>
          <a:xfrm>
            <a:off x="-1" y="7026614"/>
            <a:ext cx="12192001" cy="5025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12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Helvetica Neue"/>
              </a:rPr>
              <a:t>Under the ”View” menu, make sure that Guides are turned on in order to see the underlying grid structure.</a:t>
            </a:r>
          </a:p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12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Helvetica Neue"/>
              </a:rPr>
              <a:t>Use Arial throughout the deck. Headlines should be Arial Black and all caps. Body copy should be Arial Regular and sentence case, with Arial Black used for emphasis.</a:t>
            </a:r>
            <a:endParaRPr sz="1200" b="0" i="0" u="none" strike="noStrike" cap="none">
              <a:solidFill>
                <a:schemeClr val="tx1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8" name="Google Shape;489;p54">
            <a:extLst>
              <a:ext uri="{FF2B5EF4-FFF2-40B4-BE49-F238E27FC236}">
                <a16:creationId xmlns:a16="http://schemas.microsoft.com/office/drawing/2014/main" id="{1D03B768-0A8A-E347-860E-AE53B8DA689A}"/>
              </a:ext>
            </a:extLst>
          </p:cNvPr>
          <p:cNvSpPr txBox="1"/>
          <p:nvPr userDrawn="1"/>
        </p:nvSpPr>
        <p:spPr>
          <a:xfrm>
            <a:off x="-1953717" y="178274"/>
            <a:ext cx="1801676" cy="8879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" sz="900" b="1">
                <a:solidFill>
                  <a:schemeClr val="lt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900">
                <a:solidFill>
                  <a:schemeClr val="lt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185C</a:t>
            </a:r>
            <a:endParaRPr sz="900">
              <a:solidFill>
                <a:schemeClr val="lt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</a:pPr>
            <a:r>
              <a:rPr lang="en" sz="900" b="1">
                <a:solidFill>
                  <a:schemeClr val="lt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</a:t>
            </a:r>
            <a:r>
              <a:rPr lang="en" sz="900">
                <a:solidFill>
                  <a:schemeClr val="lt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 R236  G43  B57</a:t>
            </a:r>
            <a:endParaRPr sz="900">
              <a:solidFill>
                <a:schemeClr val="lt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</a:pPr>
            <a:r>
              <a:rPr lang="en" sz="900" b="1">
                <a:solidFill>
                  <a:schemeClr val="lt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900">
                <a:solidFill>
                  <a:schemeClr val="lt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 C1  M96  Y82  K0</a:t>
            </a:r>
            <a:endParaRPr sz="900">
              <a:solidFill>
                <a:schemeClr val="lt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</a:pPr>
            <a:r>
              <a:rPr lang="en" sz="900" b="1">
                <a:solidFill>
                  <a:schemeClr val="lt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900">
                <a:solidFill>
                  <a:schemeClr val="lt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 EC2B39</a:t>
            </a:r>
            <a:endParaRPr sz="900">
              <a:solidFill>
                <a:schemeClr val="lt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29" name="Google Shape;500;p54">
            <a:extLst>
              <a:ext uri="{FF2B5EF4-FFF2-40B4-BE49-F238E27FC236}">
                <a16:creationId xmlns:a16="http://schemas.microsoft.com/office/drawing/2014/main" id="{D03DA737-EC28-374C-A53C-5DBC9B8984C9}"/>
              </a:ext>
            </a:extLst>
          </p:cNvPr>
          <p:cNvSpPr txBox="1"/>
          <p:nvPr userDrawn="1"/>
        </p:nvSpPr>
        <p:spPr>
          <a:xfrm>
            <a:off x="-1953717" y="2135166"/>
            <a:ext cx="1801676" cy="88792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" sz="900" b="1">
                <a:solidFill>
                  <a:srgbClr val="000000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900">
                <a:solidFill>
                  <a:srgbClr val="000000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White</a:t>
            </a:r>
            <a:endParaRPr sz="900">
              <a:solidFill>
                <a:srgbClr val="000000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</a:pPr>
            <a:r>
              <a:rPr lang="en" sz="900" b="1">
                <a:solidFill>
                  <a:srgbClr val="000000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</a:t>
            </a:r>
            <a:r>
              <a:rPr lang="en" sz="900">
                <a:solidFill>
                  <a:srgbClr val="000000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 R255  G255  B255</a:t>
            </a:r>
            <a:endParaRPr sz="900">
              <a:solidFill>
                <a:srgbClr val="000000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</a:pPr>
            <a:r>
              <a:rPr lang="en" sz="900" b="1">
                <a:solidFill>
                  <a:srgbClr val="000000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900">
                <a:solidFill>
                  <a:srgbClr val="000000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 C0  M0  Y0  K0</a:t>
            </a:r>
            <a:endParaRPr sz="900">
              <a:solidFill>
                <a:srgbClr val="000000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</a:pPr>
            <a:r>
              <a:rPr lang="en" sz="900" b="1">
                <a:solidFill>
                  <a:schemeClr val="dk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900"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 FFFFFF</a:t>
            </a:r>
            <a:endParaRPr sz="900">
              <a:solidFill>
                <a:srgbClr val="000000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30" name="Google Shape;135;p29">
            <a:extLst>
              <a:ext uri="{FF2B5EF4-FFF2-40B4-BE49-F238E27FC236}">
                <a16:creationId xmlns:a16="http://schemas.microsoft.com/office/drawing/2014/main" id="{288544CC-0962-D24D-BD84-A4C75498EFCA}"/>
              </a:ext>
            </a:extLst>
          </p:cNvPr>
          <p:cNvSpPr txBox="1"/>
          <p:nvPr userDrawn="1"/>
        </p:nvSpPr>
        <p:spPr>
          <a:xfrm>
            <a:off x="-1797961" y="-53373"/>
            <a:ext cx="1645920" cy="2316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1050" b="1" u="none" strike="noStrike" cap="none">
                <a:solidFill>
                  <a:schemeClr val="tx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Helvetica Neue"/>
              </a:rPr>
              <a:t>PRIMARY COLORS</a:t>
            </a:r>
            <a:endParaRPr sz="1050" b="1" u="none" strike="noStrike" cap="none">
              <a:solidFill>
                <a:schemeClr val="tx1"/>
              </a:solidFill>
              <a:latin typeface="Arial Black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Helvetica Neue"/>
            </a:endParaRPr>
          </a:p>
        </p:txBody>
      </p:sp>
      <p:sp>
        <p:nvSpPr>
          <p:cNvPr id="31" name="Google Shape;493;p54">
            <a:extLst>
              <a:ext uri="{FF2B5EF4-FFF2-40B4-BE49-F238E27FC236}">
                <a16:creationId xmlns:a16="http://schemas.microsoft.com/office/drawing/2014/main" id="{62DF0BBB-7C65-5648-9CA5-56450B5EF2D6}"/>
              </a:ext>
            </a:extLst>
          </p:cNvPr>
          <p:cNvSpPr txBox="1"/>
          <p:nvPr userDrawn="1"/>
        </p:nvSpPr>
        <p:spPr>
          <a:xfrm>
            <a:off x="-1953717" y="1156720"/>
            <a:ext cx="1801676" cy="8879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" sz="900" b="1">
                <a:solidFill>
                  <a:schemeClr val="lt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900">
                <a:solidFill>
                  <a:schemeClr val="lt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Black 6 C</a:t>
            </a:r>
            <a:endParaRPr sz="900">
              <a:solidFill>
                <a:schemeClr val="lt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</a:pPr>
            <a:r>
              <a:rPr lang="en" sz="900" b="1">
                <a:solidFill>
                  <a:schemeClr val="lt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 </a:t>
            </a:r>
            <a:r>
              <a:rPr lang="en" sz="900">
                <a:solidFill>
                  <a:schemeClr val="lt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 R0  G0  B0</a:t>
            </a:r>
            <a:endParaRPr sz="900">
              <a:solidFill>
                <a:schemeClr val="lt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</a:pPr>
            <a:r>
              <a:rPr lang="en" sz="900" b="1">
                <a:solidFill>
                  <a:schemeClr val="lt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900">
                <a:solidFill>
                  <a:schemeClr val="lt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 C75  M68  Y67  K90</a:t>
            </a:r>
            <a:endParaRPr sz="900">
              <a:solidFill>
                <a:schemeClr val="lt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</a:pPr>
            <a:r>
              <a:rPr lang="en" sz="900" b="1">
                <a:solidFill>
                  <a:schemeClr val="lt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900">
                <a:solidFill>
                  <a:schemeClr val="lt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 000000</a:t>
            </a:r>
            <a:endParaRPr sz="900">
              <a:solidFill>
                <a:schemeClr val="lt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32" name="Google Shape;135;p29">
            <a:extLst>
              <a:ext uri="{FF2B5EF4-FFF2-40B4-BE49-F238E27FC236}">
                <a16:creationId xmlns:a16="http://schemas.microsoft.com/office/drawing/2014/main" id="{47795A3A-A7CC-CF4C-AA0D-71CEC112C0AA}"/>
              </a:ext>
            </a:extLst>
          </p:cNvPr>
          <p:cNvSpPr txBox="1"/>
          <p:nvPr userDrawn="1"/>
        </p:nvSpPr>
        <p:spPr>
          <a:xfrm>
            <a:off x="12326377" y="-53373"/>
            <a:ext cx="1645920" cy="2316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1050" b="1" u="none" strike="noStrike" cap="none">
                <a:solidFill>
                  <a:schemeClr val="tx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Helvetica Neue"/>
              </a:rPr>
              <a:t>SECONDARY COLORS</a:t>
            </a:r>
            <a:endParaRPr sz="1050" b="1" u="none" strike="noStrike" cap="none">
              <a:solidFill>
                <a:schemeClr val="tx1"/>
              </a:solidFill>
              <a:latin typeface="Arial Black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Helvetica Neue"/>
            </a:endParaRPr>
          </a:p>
        </p:txBody>
      </p:sp>
      <p:sp>
        <p:nvSpPr>
          <p:cNvPr id="33" name="Google Shape;521;p56">
            <a:extLst>
              <a:ext uri="{FF2B5EF4-FFF2-40B4-BE49-F238E27FC236}">
                <a16:creationId xmlns:a16="http://schemas.microsoft.com/office/drawing/2014/main" id="{60F673A1-08EC-6748-AA6B-ECD71172AF1D}"/>
              </a:ext>
            </a:extLst>
          </p:cNvPr>
          <p:cNvSpPr txBox="1"/>
          <p:nvPr userDrawn="1"/>
        </p:nvSpPr>
        <p:spPr>
          <a:xfrm>
            <a:off x="12314525" y="179213"/>
            <a:ext cx="1515709" cy="565135"/>
          </a:xfrm>
          <a:prstGeom prst="rect">
            <a:avLst/>
          </a:prstGeom>
          <a:solidFill>
            <a:srgbClr val="495683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7673 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73 G86 B131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81 M70 Y25 K8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495683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34" name="Google Shape;522;p56">
            <a:extLst>
              <a:ext uri="{FF2B5EF4-FFF2-40B4-BE49-F238E27FC236}">
                <a16:creationId xmlns:a16="http://schemas.microsoft.com/office/drawing/2014/main" id="{A7D37594-C833-4141-B76F-B67B2C1ACC0E}"/>
              </a:ext>
            </a:extLst>
          </p:cNvPr>
          <p:cNvSpPr txBox="1"/>
          <p:nvPr userDrawn="1"/>
        </p:nvSpPr>
        <p:spPr>
          <a:xfrm>
            <a:off x="12314525" y="2026058"/>
            <a:ext cx="1512202" cy="565135"/>
          </a:xfrm>
          <a:prstGeom prst="rect">
            <a:avLst/>
          </a:prstGeom>
          <a:solidFill>
            <a:srgbClr val="B0CFD9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551 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 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176 G207 B217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30 M7 Y11 K0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B0CFD9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35" name="Google Shape;523;p56">
            <a:extLst>
              <a:ext uri="{FF2B5EF4-FFF2-40B4-BE49-F238E27FC236}">
                <a16:creationId xmlns:a16="http://schemas.microsoft.com/office/drawing/2014/main" id="{96A8C196-320E-514E-BC69-BBEBC7F26CDA}"/>
              </a:ext>
            </a:extLst>
          </p:cNvPr>
          <p:cNvSpPr txBox="1"/>
          <p:nvPr userDrawn="1"/>
        </p:nvSpPr>
        <p:spPr>
          <a:xfrm>
            <a:off x="12314525" y="794828"/>
            <a:ext cx="1512202" cy="565135"/>
          </a:xfrm>
          <a:prstGeom prst="rect">
            <a:avLst/>
          </a:prstGeom>
          <a:solidFill>
            <a:srgbClr val="65618A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5275 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 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101 G97 B138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68 M65 Y24 K5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65618A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36" name="Google Shape;524;p56">
            <a:extLst>
              <a:ext uri="{FF2B5EF4-FFF2-40B4-BE49-F238E27FC236}">
                <a16:creationId xmlns:a16="http://schemas.microsoft.com/office/drawing/2014/main" id="{3BB702B5-DE96-534C-A6A6-31F8692DBF83}"/>
              </a:ext>
            </a:extLst>
          </p:cNvPr>
          <p:cNvSpPr txBox="1"/>
          <p:nvPr userDrawn="1"/>
        </p:nvSpPr>
        <p:spPr>
          <a:xfrm>
            <a:off x="12314525" y="1410443"/>
            <a:ext cx="1515709" cy="565135"/>
          </a:xfrm>
          <a:prstGeom prst="rect">
            <a:avLst/>
          </a:prstGeom>
          <a:solidFill>
            <a:srgbClr val="3A718C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7698 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 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58 G113 B140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81 M48 Y32 K7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3A718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37" name="Google Shape;532;p56">
            <a:extLst>
              <a:ext uri="{FF2B5EF4-FFF2-40B4-BE49-F238E27FC236}">
                <a16:creationId xmlns:a16="http://schemas.microsoft.com/office/drawing/2014/main" id="{E94D427C-93A4-3A4A-B33C-2BAFE9FAEF63}"/>
              </a:ext>
            </a:extLst>
          </p:cNvPr>
          <p:cNvSpPr txBox="1"/>
          <p:nvPr userDrawn="1"/>
        </p:nvSpPr>
        <p:spPr>
          <a:xfrm>
            <a:off x="12314525" y="2641673"/>
            <a:ext cx="1515709" cy="565135"/>
          </a:xfrm>
          <a:prstGeom prst="rect">
            <a:avLst/>
          </a:prstGeom>
          <a:solidFill>
            <a:srgbClr val="416243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7734 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 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65 G98 B67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78 M38 Y83 K30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416243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38" name="Google Shape;533;p56">
            <a:extLst>
              <a:ext uri="{FF2B5EF4-FFF2-40B4-BE49-F238E27FC236}">
                <a16:creationId xmlns:a16="http://schemas.microsoft.com/office/drawing/2014/main" id="{93D652CF-BC90-F041-BCAA-162ED27CFDC3}"/>
              </a:ext>
            </a:extLst>
          </p:cNvPr>
          <p:cNvSpPr txBox="1"/>
          <p:nvPr userDrawn="1"/>
        </p:nvSpPr>
        <p:spPr>
          <a:xfrm>
            <a:off x="12314525" y="3257288"/>
            <a:ext cx="1512202" cy="565135"/>
          </a:xfrm>
          <a:prstGeom prst="rect">
            <a:avLst/>
          </a:prstGeom>
          <a:solidFill>
            <a:srgbClr val="57A773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7723 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 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87 G167 B115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69 M13 Y71 K1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57A773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39" name="Google Shape;534;p56">
            <a:extLst>
              <a:ext uri="{FF2B5EF4-FFF2-40B4-BE49-F238E27FC236}">
                <a16:creationId xmlns:a16="http://schemas.microsoft.com/office/drawing/2014/main" id="{6B0762AD-BE85-0F43-AA04-2787992E8D66}"/>
              </a:ext>
            </a:extLst>
          </p:cNvPr>
          <p:cNvSpPr txBox="1"/>
          <p:nvPr userDrawn="1"/>
        </p:nvSpPr>
        <p:spPr>
          <a:xfrm>
            <a:off x="12314525" y="5098963"/>
            <a:ext cx="1515709" cy="565135"/>
          </a:xfrm>
          <a:prstGeom prst="rect">
            <a:avLst/>
          </a:prstGeom>
          <a:solidFill>
            <a:srgbClr val="F26419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166 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 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242 G100 B25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0 M79 Y100 K0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chemeClr val="lt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F26419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40" name="Google Shape;535;p56">
            <a:extLst>
              <a:ext uri="{FF2B5EF4-FFF2-40B4-BE49-F238E27FC236}">
                <a16:creationId xmlns:a16="http://schemas.microsoft.com/office/drawing/2014/main" id="{BECDF4F2-1E37-9A4B-9D6E-8AF5DFC0AC99}"/>
              </a:ext>
            </a:extLst>
          </p:cNvPr>
          <p:cNvSpPr txBox="1"/>
          <p:nvPr userDrawn="1"/>
        </p:nvSpPr>
        <p:spPr>
          <a:xfrm>
            <a:off x="12314525" y="5714578"/>
            <a:ext cx="1512202" cy="565135"/>
          </a:xfrm>
          <a:prstGeom prst="rect">
            <a:avLst/>
          </a:prstGeom>
          <a:solidFill>
            <a:srgbClr val="F6AE2D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130 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 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246 G174 B45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0 M37 Y100  K0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F6AE2D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41" name="Google Shape;536;p56">
            <a:extLst>
              <a:ext uri="{FF2B5EF4-FFF2-40B4-BE49-F238E27FC236}">
                <a16:creationId xmlns:a16="http://schemas.microsoft.com/office/drawing/2014/main" id="{51E42B78-E127-BE40-AF38-6629D88FA785}"/>
              </a:ext>
            </a:extLst>
          </p:cNvPr>
          <p:cNvSpPr txBox="1"/>
          <p:nvPr userDrawn="1"/>
        </p:nvSpPr>
        <p:spPr>
          <a:xfrm>
            <a:off x="12314525" y="3872903"/>
            <a:ext cx="1515709" cy="559965"/>
          </a:xfrm>
          <a:prstGeom prst="rect">
            <a:avLst/>
          </a:prstGeom>
          <a:solidFill>
            <a:srgbClr val="FFD20A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1915 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 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 255 G218 B39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1 M11 Y93 K0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FFD20A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42" name="Google Shape;537;p56">
            <a:extLst>
              <a:ext uri="{FF2B5EF4-FFF2-40B4-BE49-F238E27FC236}">
                <a16:creationId xmlns:a16="http://schemas.microsoft.com/office/drawing/2014/main" id="{E1511443-ED9A-9A43-8B6F-B1B8D14F613A}"/>
              </a:ext>
            </a:extLst>
          </p:cNvPr>
          <p:cNvSpPr txBox="1"/>
          <p:nvPr userDrawn="1"/>
        </p:nvSpPr>
        <p:spPr>
          <a:xfrm>
            <a:off x="12314525" y="4483348"/>
            <a:ext cx="1512202" cy="565135"/>
          </a:xfrm>
          <a:prstGeom prst="rect">
            <a:avLst/>
          </a:prstGeom>
          <a:solidFill>
            <a:srgbClr val="FFE156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chemeClr val="bg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chemeClr val="bg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115 C</a:t>
            </a:r>
            <a:endParaRPr sz="800">
              <a:solidFill>
                <a:schemeClr val="bg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chemeClr val="bg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</a:t>
            </a:r>
            <a:r>
              <a:rPr lang="en" sz="800">
                <a:solidFill>
                  <a:schemeClr val="bg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255 G255 B86</a:t>
            </a:r>
            <a:endParaRPr sz="800">
              <a:solidFill>
                <a:schemeClr val="bg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chemeClr val="bg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chemeClr val="bg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0 M8 Y92 K0</a:t>
            </a:r>
            <a:endParaRPr sz="800">
              <a:solidFill>
                <a:schemeClr val="bg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chemeClr val="bg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chemeClr val="bg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FFE156</a:t>
            </a:r>
            <a:endParaRPr sz="800">
              <a:solidFill>
                <a:schemeClr val="bg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43" name="Google Shape;536;p56">
            <a:extLst>
              <a:ext uri="{FF2B5EF4-FFF2-40B4-BE49-F238E27FC236}">
                <a16:creationId xmlns:a16="http://schemas.microsoft.com/office/drawing/2014/main" id="{D2412C9F-C476-9442-9979-68C8B1FBC3B6}"/>
              </a:ext>
            </a:extLst>
          </p:cNvPr>
          <p:cNvSpPr txBox="1"/>
          <p:nvPr userDrawn="1"/>
        </p:nvSpPr>
        <p:spPr>
          <a:xfrm>
            <a:off x="12314525" y="6940637"/>
            <a:ext cx="1515709" cy="559965"/>
          </a:xfrm>
          <a:prstGeom prst="rect">
            <a:avLst/>
          </a:prstGeom>
          <a:solidFill>
            <a:srgbClr val="D5D9DC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427 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 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 213 G217 B220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15 M10 Y9 K0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D5D9D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44" name="Google Shape;536;p56">
            <a:extLst>
              <a:ext uri="{FF2B5EF4-FFF2-40B4-BE49-F238E27FC236}">
                <a16:creationId xmlns:a16="http://schemas.microsoft.com/office/drawing/2014/main" id="{2663D03C-9B70-7343-9407-71BDA966ADD9}"/>
              </a:ext>
            </a:extLst>
          </p:cNvPr>
          <p:cNvSpPr txBox="1"/>
          <p:nvPr userDrawn="1"/>
        </p:nvSpPr>
        <p:spPr>
          <a:xfrm>
            <a:off x="12314525" y="6330193"/>
            <a:ext cx="1515709" cy="559965"/>
          </a:xfrm>
          <a:prstGeom prst="rect">
            <a:avLst/>
          </a:prstGeom>
          <a:solidFill>
            <a:srgbClr val="7A868D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430 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 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125 G134 B140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54 M41 Y38 K4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7D868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211252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87" r:id="rId2"/>
    <p:sldLayoutId id="2147483649" r:id="rId3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spcAft>
          <a:spcPts val="1600"/>
        </a:spcAft>
        <a:buNone/>
        <a:defRPr sz="2800" b="1" i="0" kern="1200">
          <a:solidFill>
            <a:schemeClr val="tx1"/>
          </a:solidFill>
          <a:latin typeface="Arial Black" panose="020B0604020202020204" pitchFamily="34" charset="0"/>
          <a:ea typeface="Arial Black" panose="020B0604020202020204" pitchFamily="34" charset="0"/>
          <a:cs typeface="Arial Black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Arial" panose="020B0604020202020204" pitchFamily="34" charset="0"/>
          <a:ea typeface="Helvetica Neue Light" panose="02000403000000020004" pitchFamily="2" charset="0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Arial" panose="020B0604020202020204" pitchFamily="34" charset="0"/>
          <a:ea typeface="Helvetica Neue Light" panose="02000403000000020004" pitchFamily="2" charset="0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Arial" panose="020B0604020202020204" pitchFamily="34" charset="0"/>
          <a:ea typeface="Helvetica Neue Light" panose="02000403000000020004" pitchFamily="2" charset="0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Arial" panose="020B0604020202020204" pitchFamily="34" charset="0"/>
          <a:ea typeface="Helvetica Neue Light" panose="02000403000000020004" pitchFamily="2" charset="0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Arial" panose="020B0604020202020204" pitchFamily="34" charset="0"/>
          <a:ea typeface="Helvetica Neue Light" panose="02000403000000020004" pitchFamily="2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104" userDrawn="1">
          <p15:clr>
            <a:srgbClr val="F26B43"/>
          </p15:clr>
        </p15:guide>
        <p15:guide id="2" pos="264" userDrawn="1">
          <p15:clr>
            <a:srgbClr val="9FCC3B"/>
          </p15:clr>
        </p15:guide>
        <p15:guide id="3" pos="3384" userDrawn="1">
          <p15:clr>
            <a:srgbClr val="547EBF"/>
          </p15:clr>
        </p15:guide>
        <p15:guide id="4" pos="7416" userDrawn="1">
          <p15:clr>
            <a:srgbClr val="9FCC3B"/>
          </p15:clr>
        </p15:guide>
        <p15:guide id="5" pos="3072" userDrawn="1">
          <p15:clr>
            <a:srgbClr val="F26B43"/>
          </p15:clr>
        </p15:guide>
        <p15:guide id="6" pos="2712" userDrawn="1">
          <p15:clr>
            <a:srgbClr val="547EBF"/>
          </p15:clr>
        </p15:guide>
        <p15:guide id="7" pos="2448" userDrawn="1">
          <p15:clr>
            <a:srgbClr val="F26B43"/>
          </p15:clr>
        </p15:guide>
        <p15:guide id="8" pos="3024" userDrawn="1">
          <p15:clr>
            <a:srgbClr val="F26B43"/>
          </p15:clr>
        </p15:guide>
        <p15:guide id="9" pos="3336" userDrawn="1">
          <p15:clr>
            <a:srgbClr val="547EBF"/>
          </p15:clr>
        </p15:guide>
        <p15:guide id="10" pos="2400" userDrawn="1">
          <p15:clr>
            <a:srgbClr val="F26B43"/>
          </p15:clr>
        </p15:guide>
        <p15:guide id="11" pos="2760" userDrawn="1">
          <p15:clr>
            <a:srgbClr val="547EBF"/>
          </p15:clr>
        </p15:guide>
        <p15:guide id="12" pos="1824" userDrawn="1">
          <p15:clr>
            <a:srgbClr val="F26B43"/>
          </p15:clr>
        </p15:guide>
        <p15:guide id="13" pos="1464" userDrawn="1">
          <p15:clr>
            <a:srgbClr val="547EBF"/>
          </p15:clr>
        </p15:guide>
        <p15:guide id="14" pos="1200" userDrawn="1">
          <p15:clr>
            <a:srgbClr val="F26B43"/>
          </p15:clr>
        </p15:guide>
        <p15:guide id="15" pos="528" userDrawn="1">
          <p15:clr>
            <a:srgbClr val="F26B43"/>
          </p15:clr>
        </p15:guide>
        <p15:guide id="16" pos="840" userDrawn="1">
          <p15:clr>
            <a:srgbClr val="547EBF"/>
          </p15:clr>
        </p15:guide>
        <p15:guide id="17" pos="576" userDrawn="1">
          <p15:clr>
            <a:srgbClr val="F26B43"/>
          </p15:clr>
        </p15:guide>
        <p15:guide id="19" pos="888" userDrawn="1">
          <p15:clr>
            <a:srgbClr val="547EBF"/>
          </p15:clr>
        </p15:guide>
        <p15:guide id="20" pos="1152" userDrawn="1">
          <p15:clr>
            <a:srgbClr val="F26B43"/>
          </p15:clr>
        </p15:guide>
        <p15:guide id="21" pos="1512" userDrawn="1">
          <p15:clr>
            <a:srgbClr val="547EBF"/>
          </p15:clr>
        </p15:guide>
        <p15:guide id="22" pos="1776" userDrawn="1">
          <p15:clr>
            <a:srgbClr val="F26B43"/>
          </p15:clr>
        </p15:guide>
        <p15:guide id="23" pos="2088" userDrawn="1">
          <p15:clr>
            <a:srgbClr val="547EBF"/>
          </p15:clr>
        </p15:guide>
        <p15:guide id="24" pos="2136" userDrawn="1">
          <p15:clr>
            <a:srgbClr val="547EBF"/>
          </p15:clr>
        </p15:guide>
        <p15:guide id="25" orient="horz" pos="3072" userDrawn="1">
          <p15:clr>
            <a:srgbClr val="F26B43"/>
          </p15:clr>
        </p15:guide>
        <p15:guide id="26" orient="horz" pos="2448" userDrawn="1">
          <p15:clr>
            <a:srgbClr val="F26B43"/>
          </p15:clr>
        </p15:guide>
        <p15:guide id="27" orient="horz" pos="312" userDrawn="1">
          <p15:clr>
            <a:srgbClr val="9FCC3B"/>
          </p15:clr>
        </p15:guide>
        <p15:guide id="28" orient="horz" pos="2496" userDrawn="1">
          <p15:clr>
            <a:srgbClr val="F26B43"/>
          </p15:clr>
        </p15:guide>
        <p15:guide id="29" orient="horz" pos="3120" userDrawn="1">
          <p15:clr>
            <a:srgbClr val="F26B43"/>
          </p15:clr>
        </p15:guide>
        <p15:guide id="30" orient="horz" pos="4008" userDrawn="1">
          <p15:clr>
            <a:srgbClr val="9FCC3B"/>
          </p15:clr>
        </p15:guide>
        <p15:guide id="31" orient="horz" pos="2760" userDrawn="1">
          <p15:clr>
            <a:srgbClr val="547EBF"/>
          </p15:clr>
        </p15:guide>
        <p15:guide id="32" orient="horz" pos="2808" userDrawn="1">
          <p15:clr>
            <a:srgbClr val="547EBF"/>
          </p15:clr>
        </p15:guide>
        <p15:guide id="33" pos="7152" userDrawn="1">
          <p15:clr>
            <a:srgbClr val="F26B43"/>
          </p15:clr>
        </p15:guide>
        <p15:guide id="34" pos="5592" userDrawn="1">
          <p15:clr>
            <a:srgbClr val="547EBF"/>
          </p15:clr>
        </p15:guide>
        <p15:guide id="35" pos="5544" userDrawn="1">
          <p15:clr>
            <a:srgbClr val="547EBF"/>
          </p15:clr>
        </p15:guide>
        <p15:guide id="36" pos="5904" userDrawn="1">
          <p15:clr>
            <a:srgbClr val="F26B43"/>
          </p15:clr>
        </p15:guide>
        <p15:guide id="37" pos="5856" userDrawn="1">
          <p15:clr>
            <a:srgbClr val="F26B43"/>
          </p15:clr>
        </p15:guide>
        <p15:guide id="38" pos="6216" userDrawn="1">
          <p15:clr>
            <a:srgbClr val="547EBF"/>
          </p15:clr>
        </p15:guide>
        <p15:guide id="39" pos="6168" userDrawn="1">
          <p15:clr>
            <a:srgbClr val="547EBF"/>
          </p15:clr>
        </p15:guide>
        <p15:guide id="40" pos="6792" userDrawn="1">
          <p15:clr>
            <a:srgbClr val="547EBF"/>
          </p15:clr>
        </p15:guide>
        <p15:guide id="41" pos="6840" userDrawn="1">
          <p15:clr>
            <a:srgbClr val="547EBF"/>
          </p15:clr>
        </p15:guide>
        <p15:guide id="42" pos="6480" userDrawn="1">
          <p15:clr>
            <a:srgbClr val="F26B43"/>
          </p15:clr>
        </p15:guide>
        <p15:guide id="43" pos="6528" userDrawn="1">
          <p15:clr>
            <a:srgbClr val="F26B43"/>
          </p15:clr>
        </p15:guide>
        <p15:guide id="44" pos="4344" userDrawn="1">
          <p15:clr>
            <a:srgbClr val="547EBF"/>
          </p15:clr>
        </p15:guide>
        <p15:guide id="45" pos="4608" userDrawn="1">
          <p15:clr>
            <a:srgbClr val="F26B43"/>
          </p15:clr>
        </p15:guide>
        <p15:guide id="46" pos="4656" userDrawn="1">
          <p15:clr>
            <a:srgbClr val="F26B43"/>
          </p15:clr>
        </p15:guide>
        <p15:guide id="47" pos="4920" userDrawn="1">
          <p15:clr>
            <a:srgbClr val="547EBF"/>
          </p15:clr>
        </p15:guide>
        <p15:guide id="48" pos="4968" userDrawn="1">
          <p15:clr>
            <a:srgbClr val="547EBF"/>
          </p15:clr>
        </p15:guide>
        <p15:guide id="49" pos="5280" userDrawn="1">
          <p15:clr>
            <a:srgbClr val="F26B43"/>
          </p15:clr>
        </p15:guide>
        <p15:guide id="50" pos="5232" userDrawn="1">
          <p15:clr>
            <a:srgbClr val="F26B43"/>
          </p15:clr>
        </p15:guide>
        <p15:guide id="51" pos="3648" userDrawn="1">
          <p15:clr>
            <a:srgbClr val="F26B43"/>
          </p15:clr>
        </p15:guide>
        <p15:guide id="52" pos="3696" userDrawn="1">
          <p15:clr>
            <a:srgbClr val="F26B43"/>
          </p15:clr>
        </p15:guide>
        <p15:guide id="53" pos="3984" userDrawn="1">
          <p15:clr>
            <a:srgbClr val="F26B43"/>
          </p15:clr>
        </p15:guide>
        <p15:guide id="54" pos="4296" userDrawn="1">
          <p15:clr>
            <a:srgbClr val="547EBF"/>
          </p15:clr>
        </p15:guide>
        <p15:guide id="56" pos="3840" userDrawn="1">
          <p15:clr>
            <a:srgbClr val="547EBF"/>
          </p15:clr>
        </p15:guide>
        <p15:guide id="57" pos="4032" userDrawn="1">
          <p15:clr>
            <a:srgbClr val="F26B43"/>
          </p15:clr>
        </p15:guide>
        <p15:guide id="58" orient="horz" pos="1248" userDrawn="1">
          <p15:clr>
            <a:srgbClr val="F26B43"/>
          </p15:clr>
        </p15:guide>
        <p15:guide id="59" orient="horz" pos="1200" userDrawn="1">
          <p15:clr>
            <a:srgbClr val="F26B43"/>
          </p15:clr>
        </p15:guide>
        <p15:guide id="60" orient="horz" pos="1560" userDrawn="1">
          <p15:clr>
            <a:srgbClr val="547EBF"/>
          </p15:clr>
        </p15:guide>
        <p15:guide id="61" orient="horz" pos="1512" userDrawn="1">
          <p15:clr>
            <a:srgbClr val="547EBF"/>
          </p15:clr>
        </p15:guide>
        <p15:guide id="62" orient="horz" pos="1824" userDrawn="1">
          <p15:clr>
            <a:srgbClr val="F26B43"/>
          </p15:clr>
        </p15:guide>
        <p15:guide id="63" orient="horz" pos="1872" userDrawn="1">
          <p15:clr>
            <a:srgbClr val="F26B43"/>
          </p15:clr>
        </p15:guide>
        <p15:guide id="64" orient="horz" pos="2136" userDrawn="1">
          <p15:clr>
            <a:srgbClr val="547EBF"/>
          </p15:clr>
        </p15:guide>
        <p15:guide id="65" orient="horz" pos="2184" userDrawn="1">
          <p15:clr>
            <a:srgbClr val="547EBF"/>
          </p15:clr>
        </p15:guide>
        <p15:guide id="66" orient="horz" pos="576" userDrawn="1">
          <p15:clr>
            <a:srgbClr val="F26B43"/>
          </p15:clr>
        </p15:guide>
        <p15:guide id="67" orient="horz" pos="624" userDrawn="1">
          <p15:clr>
            <a:srgbClr val="F26B43"/>
          </p15:clr>
        </p15:guide>
        <p15:guide id="68" orient="horz" pos="936" userDrawn="1">
          <p15:clr>
            <a:srgbClr val="547EBF"/>
          </p15:clr>
        </p15:guide>
        <p15:guide id="69" orient="horz" pos="888" userDrawn="1">
          <p15:clr>
            <a:srgbClr val="547EBF"/>
          </p15:clr>
        </p15:guide>
        <p15:guide id="70" orient="horz" pos="3384" userDrawn="1">
          <p15:clr>
            <a:srgbClr val="547EBF"/>
          </p15:clr>
        </p15:guide>
        <p15:guide id="71" orient="horz" pos="3432" userDrawn="1">
          <p15:clr>
            <a:srgbClr val="547EBF"/>
          </p15:clr>
        </p15:guide>
        <p15:guide id="72" orient="horz" pos="3696" userDrawn="1">
          <p15:clr>
            <a:srgbClr val="F26B43"/>
          </p15:clr>
        </p15:guide>
        <p15:guide id="73" orient="horz" pos="3744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0EE2858-06F6-E845-A5E6-D742407A33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0" y="495301"/>
            <a:ext cx="11353800" cy="91439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BCFE26-3B7A-DF48-9126-B2DF9FEF74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9100" y="1485901"/>
            <a:ext cx="11353800" cy="487679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50FCF4-9159-0C44-AC0F-17B414A7E4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3709" y="16974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defRPr>
            </a:lvl1pPr>
          </a:lstStyle>
          <a:p>
            <a:fld id="{28A7D70B-BA5B-454D-9E9C-85AA311AB73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Google Shape;135;p29">
            <a:extLst>
              <a:ext uri="{FF2B5EF4-FFF2-40B4-BE49-F238E27FC236}">
                <a16:creationId xmlns:a16="http://schemas.microsoft.com/office/drawing/2014/main" id="{9AE3BA6C-2E48-854D-A7F1-34357C9B19FE}"/>
              </a:ext>
            </a:extLst>
          </p:cNvPr>
          <p:cNvSpPr txBox="1"/>
          <p:nvPr userDrawn="1"/>
        </p:nvSpPr>
        <p:spPr>
          <a:xfrm>
            <a:off x="-1" y="7026614"/>
            <a:ext cx="12192001" cy="5025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12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Helvetica Neue"/>
              </a:rPr>
              <a:t>Under the ”View” menu, make sure that Guides are turned on in order to see the underlying grid structure.</a:t>
            </a:r>
          </a:p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12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Helvetica Neue"/>
              </a:rPr>
              <a:t>Use Arial throughout the deck. Headlines should be Arial Black and all caps. Body copy should be Arial Regular and sentence case, with Arial Black used for emphasis.</a:t>
            </a:r>
            <a:endParaRPr sz="1200" b="0" i="0" u="none" strike="noStrike" cap="none">
              <a:solidFill>
                <a:schemeClr val="tx1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8" name="Google Shape;489;p54">
            <a:extLst>
              <a:ext uri="{FF2B5EF4-FFF2-40B4-BE49-F238E27FC236}">
                <a16:creationId xmlns:a16="http://schemas.microsoft.com/office/drawing/2014/main" id="{1D03B768-0A8A-E347-860E-AE53B8DA689A}"/>
              </a:ext>
            </a:extLst>
          </p:cNvPr>
          <p:cNvSpPr txBox="1"/>
          <p:nvPr userDrawn="1"/>
        </p:nvSpPr>
        <p:spPr>
          <a:xfrm>
            <a:off x="-1953717" y="178274"/>
            <a:ext cx="1801676" cy="8879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" sz="900" b="1">
                <a:solidFill>
                  <a:schemeClr val="lt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900">
                <a:solidFill>
                  <a:schemeClr val="lt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185C</a:t>
            </a:r>
            <a:endParaRPr sz="900">
              <a:solidFill>
                <a:schemeClr val="lt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</a:pPr>
            <a:r>
              <a:rPr lang="en" sz="900" b="1">
                <a:solidFill>
                  <a:schemeClr val="lt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</a:t>
            </a:r>
            <a:r>
              <a:rPr lang="en" sz="900">
                <a:solidFill>
                  <a:schemeClr val="lt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 R236  G43  B57</a:t>
            </a:r>
            <a:endParaRPr sz="900">
              <a:solidFill>
                <a:schemeClr val="lt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</a:pPr>
            <a:r>
              <a:rPr lang="en" sz="900" b="1">
                <a:solidFill>
                  <a:schemeClr val="lt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900">
                <a:solidFill>
                  <a:schemeClr val="lt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 C1  M96  Y82  K0</a:t>
            </a:r>
            <a:endParaRPr sz="900">
              <a:solidFill>
                <a:schemeClr val="lt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</a:pPr>
            <a:r>
              <a:rPr lang="en" sz="900" b="1">
                <a:solidFill>
                  <a:schemeClr val="lt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900">
                <a:solidFill>
                  <a:schemeClr val="lt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 EC2B39</a:t>
            </a:r>
            <a:endParaRPr sz="900">
              <a:solidFill>
                <a:schemeClr val="lt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29" name="Google Shape;500;p54">
            <a:extLst>
              <a:ext uri="{FF2B5EF4-FFF2-40B4-BE49-F238E27FC236}">
                <a16:creationId xmlns:a16="http://schemas.microsoft.com/office/drawing/2014/main" id="{D03DA737-EC28-374C-A53C-5DBC9B8984C9}"/>
              </a:ext>
            </a:extLst>
          </p:cNvPr>
          <p:cNvSpPr txBox="1"/>
          <p:nvPr userDrawn="1"/>
        </p:nvSpPr>
        <p:spPr>
          <a:xfrm>
            <a:off x="-1953717" y="2135166"/>
            <a:ext cx="1801676" cy="88792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" sz="900" b="1">
                <a:solidFill>
                  <a:srgbClr val="000000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900">
                <a:solidFill>
                  <a:srgbClr val="000000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White</a:t>
            </a:r>
            <a:endParaRPr sz="900">
              <a:solidFill>
                <a:srgbClr val="000000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</a:pPr>
            <a:r>
              <a:rPr lang="en" sz="900" b="1">
                <a:solidFill>
                  <a:srgbClr val="000000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</a:t>
            </a:r>
            <a:r>
              <a:rPr lang="en" sz="900">
                <a:solidFill>
                  <a:srgbClr val="000000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 R255  G255  B255</a:t>
            </a:r>
            <a:endParaRPr sz="900">
              <a:solidFill>
                <a:srgbClr val="000000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</a:pPr>
            <a:r>
              <a:rPr lang="en" sz="900" b="1">
                <a:solidFill>
                  <a:srgbClr val="000000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900">
                <a:solidFill>
                  <a:srgbClr val="000000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 C0  M0  Y0  K0</a:t>
            </a:r>
            <a:endParaRPr sz="900">
              <a:solidFill>
                <a:srgbClr val="000000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</a:pPr>
            <a:r>
              <a:rPr lang="en" sz="900" b="1">
                <a:solidFill>
                  <a:schemeClr val="dk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900"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 FFFFFF</a:t>
            </a:r>
            <a:endParaRPr sz="900">
              <a:solidFill>
                <a:srgbClr val="000000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30" name="Google Shape;135;p29">
            <a:extLst>
              <a:ext uri="{FF2B5EF4-FFF2-40B4-BE49-F238E27FC236}">
                <a16:creationId xmlns:a16="http://schemas.microsoft.com/office/drawing/2014/main" id="{288544CC-0962-D24D-BD84-A4C75498EFCA}"/>
              </a:ext>
            </a:extLst>
          </p:cNvPr>
          <p:cNvSpPr txBox="1"/>
          <p:nvPr userDrawn="1"/>
        </p:nvSpPr>
        <p:spPr>
          <a:xfrm>
            <a:off x="-1797961" y="-53373"/>
            <a:ext cx="1645920" cy="2316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1050" b="1" u="none" strike="noStrike" cap="none">
                <a:solidFill>
                  <a:schemeClr val="tx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Helvetica Neue"/>
              </a:rPr>
              <a:t>PRIMARY COLORS</a:t>
            </a:r>
            <a:endParaRPr sz="1050" b="1" u="none" strike="noStrike" cap="none">
              <a:solidFill>
                <a:schemeClr val="tx1"/>
              </a:solidFill>
              <a:latin typeface="Arial Black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Helvetica Neue"/>
            </a:endParaRPr>
          </a:p>
        </p:txBody>
      </p:sp>
      <p:sp>
        <p:nvSpPr>
          <p:cNvPr id="31" name="Google Shape;493;p54">
            <a:extLst>
              <a:ext uri="{FF2B5EF4-FFF2-40B4-BE49-F238E27FC236}">
                <a16:creationId xmlns:a16="http://schemas.microsoft.com/office/drawing/2014/main" id="{62DF0BBB-7C65-5648-9CA5-56450B5EF2D6}"/>
              </a:ext>
            </a:extLst>
          </p:cNvPr>
          <p:cNvSpPr txBox="1"/>
          <p:nvPr userDrawn="1"/>
        </p:nvSpPr>
        <p:spPr>
          <a:xfrm>
            <a:off x="-1953717" y="1156720"/>
            <a:ext cx="1801676" cy="8879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" sz="900" b="1">
                <a:solidFill>
                  <a:schemeClr val="lt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900">
                <a:solidFill>
                  <a:schemeClr val="lt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Black 6 C</a:t>
            </a:r>
            <a:endParaRPr sz="900">
              <a:solidFill>
                <a:schemeClr val="lt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</a:pPr>
            <a:r>
              <a:rPr lang="en" sz="900" b="1">
                <a:solidFill>
                  <a:schemeClr val="lt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 </a:t>
            </a:r>
            <a:r>
              <a:rPr lang="en" sz="900">
                <a:solidFill>
                  <a:schemeClr val="lt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 R0  G0  B0</a:t>
            </a:r>
            <a:endParaRPr sz="900">
              <a:solidFill>
                <a:schemeClr val="lt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</a:pPr>
            <a:r>
              <a:rPr lang="en" sz="900" b="1">
                <a:solidFill>
                  <a:schemeClr val="lt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900">
                <a:solidFill>
                  <a:schemeClr val="lt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 C75  M68  Y67  K90</a:t>
            </a:r>
            <a:endParaRPr sz="900">
              <a:solidFill>
                <a:schemeClr val="lt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</a:pPr>
            <a:r>
              <a:rPr lang="en" sz="900" b="1">
                <a:solidFill>
                  <a:schemeClr val="lt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900">
                <a:solidFill>
                  <a:schemeClr val="lt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 000000</a:t>
            </a:r>
            <a:endParaRPr sz="900">
              <a:solidFill>
                <a:schemeClr val="lt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32" name="Google Shape;135;p29">
            <a:extLst>
              <a:ext uri="{FF2B5EF4-FFF2-40B4-BE49-F238E27FC236}">
                <a16:creationId xmlns:a16="http://schemas.microsoft.com/office/drawing/2014/main" id="{47795A3A-A7CC-CF4C-AA0D-71CEC112C0AA}"/>
              </a:ext>
            </a:extLst>
          </p:cNvPr>
          <p:cNvSpPr txBox="1"/>
          <p:nvPr userDrawn="1"/>
        </p:nvSpPr>
        <p:spPr>
          <a:xfrm>
            <a:off x="12326377" y="-53373"/>
            <a:ext cx="1645920" cy="2316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1050" b="1" u="none" strike="noStrike" cap="none">
                <a:solidFill>
                  <a:schemeClr val="tx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Helvetica Neue"/>
              </a:rPr>
              <a:t>SECONDARY COLORS</a:t>
            </a:r>
            <a:endParaRPr sz="1050" b="1" u="none" strike="noStrike" cap="none">
              <a:solidFill>
                <a:schemeClr val="tx1"/>
              </a:solidFill>
              <a:latin typeface="Arial Black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Helvetica Neue"/>
            </a:endParaRPr>
          </a:p>
        </p:txBody>
      </p:sp>
      <p:sp>
        <p:nvSpPr>
          <p:cNvPr id="33" name="Google Shape;521;p56">
            <a:extLst>
              <a:ext uri="{FF2B5EF4-FFF2-40B4-BE49-F238E27FC236}">
                <a16:creationId xmlns:a16="http://schemas.microsoft.com/office/drawing/2014/main" id="{60F673A1-08EC-6748-AA6B-ECD71172AF1D}"/>
              </a:ext>
            </a:extLst>
          </p:cNvPr>
          <p:cNvSpPr txBox="1"/>
          <p:nvPr userDrawn="1"/>
        </p:nvSpPr>
        <p:spPr>
          <a:xfrm>
            <a:off x="12314525" y="179213"/>
            <a:ext cx="1515709" cy="565135"/>
          </a:xfrm>
          <a:prstGeom prst="rect">
            <a:avLst/>
          </a:prstGeom>
          <a:solidFill>
            <a:srgbClr val="495683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7673 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73 G86 B131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81 M70 Y25 K8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495683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34" name="Google Shape;522;p56">
            <a:extLst>
              <a:ext uri="{FF2B5EF4-FFF2-40B4-BE49-F238E27FC236}">
                <a16:creationId xmlns:a16="http://schemas.microsoft.com/office/drawing/2014/main" id="{A7D37594-C833-4141-B76F-B67B2C1ACC0E}"/>
              </a:ext>
            </a:extLst>
          </p:cNvPr>
          <p:cNvSpPr txBox="1"/>
          <p:nvPr userDrawn="1"/>
        </p:nvSpPr>
        <p:spPr>
          <a:xfrm>
            <a:off x="12314525" y="2026058"/>
            <a:ext cx="1512202" cy="565135"/>
          </a:xfrm>
          <a:prstGeom prst="rect">
            <a:avLst/>
          </a:prstGeom>
          <a:solidFill>
            <a:srgbClr val="B0CFD9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551 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 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176 G207 B217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30 M7 Y11 K0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B0CFD9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35" name="Google Shape;523;p56">
            <a:extLst>
              <a:ext uri="{FF2B5EF4-FFF2-40B4-BE49-F238E27FC236}">
                <a16:creationId xmlns:a16="http://schemas.microsoft.com/office/drawing/2014/main" id="{96A8C196-320E-514E-BC69-BBEBC7F26CDA}"/>
              </a:ext>
            </a:extLst>
          </p:cNvPr>
          <p:cNvSpPr txBox="1"/>
          <p:nvPr userDrawn="1"/>
        </p:nvSpPr>
        <p:spPr>
          <a:xfrm>
            <a:off x="12314525" y="794828"/>
            <a:ext cx="1512202" cy="565135"/>
          </a:xfrm>
          <a:prstGeom prst="rect">
            <a:avLst/>
          </a:prstGeom>
          <a:solidFill>
            <a:srgbClr val="65618A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5275 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 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101 G97 B138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68 M65 Y24 K5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65618A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36" name="Google Shape;524;p56">
            <a:extLst>
              <a:ext uri="{FF2B5EF4-FFF2-40B4-BE49-F238E27FC236}">
                <a16:creationId xmlns:a16="http://schemas.microsoft.com/office/drawing/2014/main" id="{3BB702B5-DE96-534C-A6A6-31F8692DBF83}"/>
              </a:ext>
            </a:extLst>
          </p:cNvPr>
          <p:cNvSpPr txBox="1"/>
          <p:nvPr userDrawn="1"/>
        </p:nvSpPr>
        <p:spPr>
          <a:xfrm>
            <a:off x="12314525" y="1410443"/>
            <a:ext cx="1515709" cy="565135"/>
          </a:xfrm>
          <a:prstGeom prst="rect">
            <a:avLst/>
          </a:prstGeom>
          <a:solidFill>
            <a:srgbClr val="3A718C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7698 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 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58 G113 B140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81 M48 Y32 K7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3A718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37" name="Google Shape;532;p56">
            <a:extLst>
              <a:ext uri="{FF2B5EF4-FFF2-40B4-BE49-F238E27FC236}">
                <a16:creationId xmlns:a16="http://schemas.microsoft.com/office/drawing/2014/main" id="{E94D427C-93A4-3A4A-B33C-2BAFE9FAEF63}"/>
              </a:ext>
            </a:extLst>
          </p:cNvPr>
          <p:cNvSpPr txBox="1"/>
          <p:nvPr userDrawn="1"/>
        </p:nvSpPr>
        <p:spPr>
          <a:xfrm>
            <a:off x="12314525" y="2641673"/>
            <a:ext cx="1515709" cy="565135"/>
          </a:xfrm>
          <a:prstGeom prst="rect">
            <a:avLst/>
          </a:prstGeom>
          <a:solidFill>
            <a:srgbClr val="416243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7734 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 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65 G98 B67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78 M38 Y83 K30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416243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38" name="Google Shape;533;p56">
            <a:extLst>
              <a:ext uri="{FF2B5EF4-FFF2-40B4-BE49-F238E27FC236}">
                <a16:creationId xmlns:a16="http://schemas.microsoft.com/office/drawing/2014/main" id="{93D652CF-BC90-F041-BCAA-162ED27CFDC3}"/>
              </a:ext>
            </a:extLst>
          </p:cNvPr>
          <p:cNvSpPr txBox="1"/>
          <p:nvPr userDrawn="1"/>
        </p:nvSpPr>
        <p:spPr>
          <a:xfrm>
            <a:off x="12314525" y="3257288"/>
            <a:ext cx="1512202" cy="565135"/>
          </a:xfrm>
          <a:prstGeom prst="rect">
            <a:avLst/>
          </a:prstGeom>
          <a:solidFill>
            <a:srgbClr val="57A773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7723 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 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87 G167 B115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69 M13 Y71 K1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57A773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39" name="Google Shape;534;p56">
            <a:extLst>
              <a:ext uri="{FF2B5EF4-FFF2-40B4-BE49-F238E27FC236}">
                <a16:creationId xmlns:a16="http://schemas.microsoft.com/office/drawing/2014/main" id="{6B0762AD-BE85-0F43-AA04-2787992E8D66}"/>
              </a:ext>
            </a:extLst>
          </p:cNvPr>
          <p:cNvSpPr txBox="1"/>
          <p:nvPr userDrawn="1"/>
        </p:nvSpPr>
        <p:spPr>
          <a:xfrm>
            <a:off x="12314525" y="5098963"/>
            <a:ext cx="1515709" cy="565135"/>
          </a:xfrm>
          <a:prstGeom prst="rect">
            <a:avLst/>
          </a:prstGeom>
          <a:solidFill>
            <a:srgbClr val="F26419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166 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 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242 G100 B25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0 M79 Y100 K0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</a:t>
            </a:r>
            <a:r>
              <a:rPr lang="en" sz="800">
                <a:solidFill>
                  <a:schemeClr val="lt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F26419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40" name="Google Shape;535;p56">
            <a:extLst>
              <a:ext uri="{FF2B5EF4-FFF2-40B4-BE49-F238E27FC236}">
                <a16:creationId xmlns:a16="http://schemas.microsoft.com/office/drawing/2014/main" id="{BECDF4F2-1E37-9A4B-9D6E-8AF5DFC0AC99}"/>
              </a:ext>
            </a:extLst>
          </p:cNvPr>
          <p:cNvSpPr txBox="1"/>
          <p:nvPr userDrawn="1"/>
        </p:nvSpPr>
        <p:spPr>
          <a:xfrm>
            <a:off x="12314525" y="5714578"/>
            <a:ext cx="1512202" cy="565135"/>
          </a:xfrm>
          <a:prstGeom prst="rect">
            <a:avLst/>
          </a:prstGeom>
          <a:solidFill>
            <a:srgbClr val="F6AE2D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130 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 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246 G174 B45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0 M37 Y100  K0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F6AE2D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41" name="Google Shape;536;p56">
            <a:extLst>
              <a:ext uri="{FF2B5EF4-FFF2-40B4-BE49-F238E27FC236}">
                <a16:creationId xmlns:a16="http://schemas.microsoft.com/office/drawing/2014/main" id="{51E42B78-E127-BE40-AF38-6629D88FA785}"/>
              </a:ext>
            </a:extLst>
          </p:cNvPr>
          <p:cNvSpPr txBox="1"/>
          <p:nvPr userDrawn="1"/>
        </p:nvSpPr>
        <p:spPr>
          <a:xfrm>
            <a:off x="12314525" y="3872903"/>
            <a:ext cx="1515709" cy="559965"/>
          </a:xfrm>
          <a:prstGeom prst="rect">
            <a:avLst/>
          </a:prstGeom>
          <a:solidFill>
            <a:srgbClr val="FFD20A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1915 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 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 255 G218 B39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1 M11 Y93 K0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FFD20A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42" name="Google Shape;537;p56">
            <a:extLst>
              <a:ext uri="{FF2B5EF4-FFF2-40B4-BE49-F238E27FC236}">
                <a16:creationId xmlns:a16="http://schemas.microsoft.com/office/drawing/2014/main" id="{E1511443-ED9A-9A43-8B6F-B1B8D14F613A}"/>
              </a:ext>
            </a:extLst>
          </p:cNvPr>
          <p:cNvSpPr txBox="1"/>
          <p:nvPr userDrawn="1"/>
        </p:nvSpPr>
        <p:spPr>
          <a:xfrm>
            <a:off x="12314525" y="4483348"/>
            <a:ext cx="1512202" cy="565135"/>
          </a:xfrm>
          <a:prstGeom prst="rect">
            <a:avLst/>
          </a:prstGeom>
          <a:solidFill>
            <a:srgbClr val="FFE156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chemeClr val="bg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chemeClr val="bg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115 C</a:t>
            </a:r>
            <a:endParaRPr sz="800">
              <a:solidFill>
                <a:schemeClr val="bg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chemeClr val="bg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</a:t>
            </a:r>
            <a:r>
              <a:rPr lang="en" sz="800">
                <a:solidFill>
                  <a:schemeClr val="bg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255 G255 B86</a:t>
            </a:r>
            <a:endParaRPr sz="800">
              <a:solidFill>
                <a:schemeClr val="bg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chemeClr val="bg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chemeClr val="bg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0 M8 Y92 K0</a:t>
            </a:r>
            <a:endParaRPr sz="800">
              <a:solidFill>
                <a:schemeClr val="bg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chemeClr val="bg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chemeClr val="bg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FFE156</a:t>
            </a:r>
            <a:endParaRPr sz="800">
              <a:solidFill>
                <a:schemeClr val="bg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43" name="Google Shape;536;p56">
            <a:extLst>
              <a:ext uri="{FF2B5EF4-FFF2-40B4-BE49-F238E27FC236}">
                <a16:creationId xmlns:a16="http://schemas.microsoft.com/office/drawing/2014/main" id="{D2412C9F-C476-9442-9979-68C8B1FBC3B6}"/>
              </a:ext>
            </a:extLst>
          </p:cNvPr>
          <p:cNvSpPr txBox="1"/>
          <p:nvPr userDrawn="1"/>
        </p:nvSpPr>
        <p:spPr>
          <a:xfrm>
            <a:off x="12314525" y="6940637"/>
            <a:ext cx="1515709" cy="559965"/>
          </a:xfrm>
          <a:prstGeom prst="rect">
            <a:avLst/>
          </a:prstGeom>
          <a:solidFill>
            <a:srgbClr val="D5D9DC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427 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 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 213 G217 B220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15 M10 Y9 K0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D5D9D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44" name="Google Shape;536;p56">
            <a:extLst>
              <a:ext uri="{FF2B5EF4-FFF2-40B4-BE49-F238E27FC236}">
                <a16:creationId xmlns:a16="http://schemas.microsoft.com/office/drawing/2014/main" id="{2663D03C-9B70-7343-9407-71BDA966ADD9}"/>
              </a:ext>
            </a:extLst>
          </p:cNvPr>
          <p:cNvSpPr txBox="1"/>
          <p:nvPr userDrawn="1"/>
        </p:nvSpPr>
        <p:spPr>
          <a:xfrm>
            <a:off x="12314525" y="6330193"/>
            <a:ext cx="1515709" cy="559965"/>
          </a:xfrm>
          <a:prstGeom prst="rect">
            <a:avLst/>
          </a:prstGeom>
          <a:solidFill>
            <a:srgbClr val="7A868D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430 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 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125 G134 B140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54 M41 Y38 K4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7D868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211252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51" r:id="rId2"/>
    <p:sldLayoutId id="2147483660" r:id="rId3"/>
    <p:sldLayoutId id="2147483665" r:id="rId4"/>
    <p:sldLayoutId id="2147483667" r:id="rId5"/>
    <p:sldLayoutId id="2147483663" r:id="rId6"/>
    <p:sldLayoutId id="2147483664" r:id="rId7"/>
    <p:sldLayoutId id="2147483671" r:id="rId8"/>
    <p:sldLayoutId id="2147483662" r:id="rId9"/>
    <p:sldLayoutId id="2147483668" r:id="rId10"/>
    <p:sldLayoutId id="2147483669" r:id="rId11"/>
    <p:sldLayoutId id="2147483670" r:id="rId12"/>
    <p:sldLayoutId id="2147483666" r:id="rId13"/>
    <p:sldLayoutId id="2147483672" r:id="rId14"/>
    <p:sldLayoutId id="2147483673" r:id="rId15"/>
    <p:sldLayoutId id="2147483674" r:id="rId16"/>
    <p:sldLayoutId id="2147483675" r:id="rId17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spcAft>
          <a:spcPts val="1600"/>
        </a:spcAft>
        <a:buNone/>
        <a:defRPr sz="2800" b="1" i="0" kern="1200">
          <a:solidFill>
            <a:schemeClr val="tx1"/>
          </a:solidFill>
          <a:latin typeface="Arial Black" panose="020B0604020202020204" pitchFamily="34" charset="0"/>
          <a:ea typeface="Arial Black" panose="020B0604020202020204" pitchFamily="34" charset="0"/>
          <a:cs typeface="Arial Black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Arial" panose="020B0604020202020204" pitchFamily="34" charset="0"/>
          <a:ea typeface="Helvetica Neue Light" panose="02000403000000020004" pitchFamily="2" charset="0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Arial" panose="020B0604020202020204" pitchFamily="34" charset="0"/>
          <a:ea typeface="Helvetica Neue Light" panose="02000403000000020004" pitchFamily="2" charset="0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Arial" panose="020B0604020202020204" pitchFamily="34" charset="0"/>
          <a:ea typeface="Helvetica Neue Light" panose="02000403000000020004" pitchFamily="2" charset="0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Arial" panose="020B0604020202020204" pitchFamily="34" charset="0"/>
          <a:ea typeface="Helvetica Neue Light" panose="02000403000000020004" pitchFamily="2" charset="0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Arial" panose="020B0604020202020204" pitchFamily="34" charset="0"/>
          <a:ea typeface="Helvetica Neue Light" panose="02000403000000020004" pitchFamily="2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104" userDrawn="1">
          <p15:clr>
            <a:srgbClr val="F26B43"/>
          </p15:clr>
        </p15:guide>
        <p15:guide id="2" pos="264" userDrawn="1">
          <p15:clr>
            <a:srgbClr val="9FCC3B"/>
          </p15:clr>
        </p15:guide>
        <p15:guide id="3" pos="3384" userDrawn="1">
          <p15:clr>
            <a:srgbClr val="547EBF"/>
          </p15:clr>
        </p15:guide>
        <p15:guide id="4" pos="7416" userDrawn="1">
          <p15:clr>
            <a:srgbClr val="9FCC3B"/>
          </p15:clr>
        </p15:guide>
        <p15:guide id="5" pos="3072" userDrawn="1">
          <p15:clr>
            <a:srgbClr val="F26B43"/>
          </p15:clr>
        </p15:guide>
        <p15:guide id="6" pos="2712" userDrawn="1">
          <p15:clr>
            <a:srgbClr val="547EBF"/>
          </p15:clr>
        </p15:guide>
        <p15:guide id="7" pos="2448" userDrawn="1">
          <p15:clr>
            <a:srgbClr val="F26B43"/>
          </p15:clr>
        </p15:guide>
        <p15:guide id="8" pos="3024" userDrawn="1">
          <p15:clr>
            <a:srgbClr val="F26B43"/>
          </p15:clr>
        </p15:guide>
        <p15:guide id="9" pos="3336" userDrawn="1">
          <p15:clr>
            <a:srgbClr val="547EBF"/>
          </p15:clr>
        </p15:guide>
        <p15:guide id="10" pos="2400" userDrawn="1">
          <p15:clr>
            <a:srgbClr val="F26B43"/>
          </p15:clr>
        </p15:guide>
        <p15:guide id="11" pos="2760" userDrawn="1">
          <p15:clr>
            <a:srgbClr val="547EBF"/>
          </p15:clr>
        </p15:guide>
        <p15:guide id="12" pos="1824" userDrawn="1">
          <p15:clr>
            <a:srgbClr val="F26B43"/>
          </p15:clr>
        </p15:guide>
        <p15:guide id="13" pos="1464" userDrawn="1">
          <p15:clr>
            <a:srgbClr val="547EBF"/>
          </p15:clr>
        </p15:guide>
        <p15:guide id="14" pos="1200" userDrawn="1">
          <p15:clr>
            <a:srgbClr val="F26B43"/>
          </p15:clr>
        </p15:guide>
        <p15:guide id="15" pos="528" userDrawn="1">
          <p15:clr>
            <a:srgbClr val="F26B43"/>
          </p15:clr>
        </p15:guide>
        <p15:guide id="16" pos="840" userDrawn="1">
          <p15:clr>
            <a:srgbClr val="547EBF"/>
          </p15:clr>
        </p15:guide>
        <p15:guide id="17" pos="576" userDrawn="1">
          <p15:clr>
            <a:srgbClr val="F26B43"/>
          </p15:clr>
        </p15:guide>
        <p15:guide id="19" pos="888" userDrawn="1">
          <p15:clr>
            <a:srgbClr val="547EBF"/>
          </p15:clr>
        </p15:guide>
        <p15:guide id="20" pos="1152" userDrawn="1">
          <p15:clr>
            <a:srgbClr val="F26B43"/>
          </p15:clr>
        </p15:guide>
        <p15:guide id="21" pos="1512" userDrawn="1">
          <p15:clr>
            <a:srgbClr val="547EBF"/>
          </p15:clr>
        </p15:guide>
        <p15:guide id="22" pos="1776" userDrawn="1">
          <p15:clr>
            <a:srgbClr val="F26B43"/>
          </p15:clr>
        </p15:guide>
        <p15:guide id="23" pos="2088" userDrawn="1">
          <p15:clr>
            <a:srgbClr val="547EBF"/>
          </p15:clr>
        </p15:guide>
        <p15:guide id="24" pos="2136" userDrawn="1">
          <p15:clr>
            <a:srgbClr val="547EBF"/>
          </p15:clr>
        </p15:guide>
        <p15:guide id="25" orient="horz" pos="3072" userDrawn="1">
          <p15:clr>
            <a:srgbClr val="F26B43"/>
          </p15:clr>
        </p15:guide>
        <p15:guide id="26" orient="horz" pos="2448" userDrawn="1">
          <p15:clr>
            <a:srgbClr val="F26B43"/>
          </p15:clr>
        </p15:guide>
        <p15:guide id="27" orient="horz" pos="312" userDrawn="1">
          <p15:clr>
            <a:srgbClr val="9FCC3B"/>
          </p15:clr>
        </p15:guide>
        <p15:guide id="28" orient="horz" pos="2496" userDrawn="1">
          <p15:clr>
            <a:srgbClr val="F26B43"/>
          </p15:clr>
        </p15:guide>
        <p15:guide id="29" orient="horz" pos="3120" userDrawn="1">
          <p15:clr>
            <a:srgbClr val="F26B43"/>
          </p15:clr>
        </p15:guide>
        <p15:guide id="30" orient="horz" pos="4008" userDrawn="1">
          <p15:clr>
            <a:srgbClr val="9FCC3B"/>
          </p15:clr>
        </p15:guide>
        <p15:guide id="31" orient="horz" pos="2760" userDrawn="1">
          <p15:clr>
            <a:srgbClr val="547EBF"/>
          </p15:clr>
        </p15:guide>
        <p15:guide id="32" orient="horz" pos="2808" userDrawn="1">
          <p15:clr>
            <a:srgbClr val="547EBF"/>
          </p15:clr>
        </p15:guide>
        <p15:guide id="33" pos="7152" userDrawn="1">
          <p15:clr>
            <a:srgbClr val="F26B43"/>
          </p15:clr>
        </p15:guide>
        <p15:guide id="34" pos="5592" userDrawn="1">
          <p15:clr>
            <a:srgbClr val="547EBF"/>
          </p15:clr>
        </p15:guide>
        <p15:guide id="35" pos="5544" userDrawn="1">
          <p15:clr>
            <a:srgbClr val="547EBF"/>
          </p15:clr>
        </p15:guide>
        <p15:guide id="36" pos="5904" userDrawn="1">
          <p15:clr>
            <a:srgbClr val="F26B43"/>
          </p15:clr>
        </p15:guide>
        <p15:guide id="37" pos="5856" userDrawn="1">
          <p15:clr>
            <a:srgbClr val="F26B43"/>
          </p15:clr>
        </p15:guide>
        <p15:guide id="38" pos="6216" userDrawn="1">
          <p15:clr>
            <a:srgbClr val="547EBF"/>
          </p15:clr>
        </p15:guide>
        <p15:guide id="39" pos="6168" userDrawn="1">
          <p15:clr>
            <a:srgbClr val="547EBF"/>
          </p15:clr>
        </p15:guide>
        <p15:guide id="40" pos="6792" userDrawn="1">
          <p15:clr>
            <a:srgbClr val="547EBF"/>
          </p15:clr>
        </p15:guide>
        <p15:guide id="41" pos="6840" userDrawn="1">
          <p15:clr>
            <a:srgbClr val="547EBF"/>
          </p15:clr>
        </p15:guide>
        <p15:guide id="42" pos="6480" userDrawn="1">
          <p15:clr>
            <a:srgbClr val="F26B43"/>
          </p15:clr>
        </p15:guide>
        <p15:guide id="43" pos="6528" userDrawn="1">
          <p15:clr>
            <a:srgbClr val="F26B43"/>
          </p15:clr>
        </p15:guide>
        <p15:guide id="44" pos="4344" userDrawn="1">
          <p15:clr>
            <a:srgbClr val="547EBF"/>
          </p15:clr>
        </p15:guide>
        <p15:guide id="45" pos="4608" userDrawn="1">
          <p15:clr>
            <a:srgbClr val="F26B43"/>
          </p15:clr>
        </p15:guide>
        <p15:guide id="46" pos="4656" userDrawn="1">
          <p15:clr>
            <a:srgbClr val="F26B43"/>
          </p15:clr>
        </p15:guide>
        <p15:guide id="47" pos="4920" userDrawn="1">
          <p15:clr>
            <a:srgbClr val="547EBF"/>
          </p15:clr>
        </p15:guide>
        <p15:guide id="48" pos="4968" userDrawn="1">
          <p15:clr>
            <a:srgbClr val="547EBF"/>
          </p15:clr>
        </p15:guide>
        <p15:guide id="49" pos="5280" userDrawn="1">
          <p15:clr>
            <a:srgbClr val="F26B43"/>
          </p15:clr>
        </p15:guide>
        <p15:guide id="50" pos="5232" userDrawn="1">
          <p15:clr>
            <a:srgbClr val="F26B43"/>
          </p15:clr>
        </p15:guide>
        <p15:guide id="51" pos="3648" userDrawn="1">
          <p15:clr>
            <a:srgbClr val="F26B43"/>
          </p15:clr>
        </p15:guide>
        <p15:guide id="52" pos="3696" userDrawn="1">
          <p15:clr>
            <a:srgbClr val="F26B43"/>
          </p15:clr>
        </p15:guide>
        <p15:guide id="53" pos="3984" userDrawn="1">
          <p15:clr>
            <a:srgbClr val="F26B43"/>
          </p15:clr>
        </p15:guide>
        <p15:guide id="54" pos="4296" userDrawn="1">
          <p15:clr>
            <a:srgbClr val="547EBF"/>
          </p15:clr>
        </p15:guide>
        <p15:guide id="56" pos="3840" userDrawn="1">
          <p15:clr>
            <a:srgbClr val="547EBF"/>
          </p15:clr>
        </p15:guide>
        <p15:guide id="57" pos="4032" userDrawn="1">
          <p15:clr>
            <a:srgbClr val="F26B43"/>
          </p15:clr>
        </p15:guide>
        <p15:guide id="58" orient="horz" pos="1248" userDrawn="1">
          <p15:clr>
            <a:srgbClr val="F26B43"/>
          </p15:clr>
        </p15:guide>
        <p15:guide id="59" orient="horz" pos="1200" userDrawn="1">
          <p15:clr>
            <a:srgbClr val="F26B43"/>
          </p15:clr>
        </p15:guide>
        <p15:guide id="60" orient="horz" pos="1560" userDrawn="1">
          <p15:clr>
            <a:srgbClr val="547EBF"/>
          </p15:clr>
        </p15:guide>
        <p15:guide id="61" orient="horz" pos="1512" userDrawn="1">
          <p15:clr>
            <a:srgbClr val="547EBF"/>
          </p15:clr>
        </p15:guide>
        <p15:guide id="62" orient="horz" pos="1824" userDrawn="1">
          <p15:clr>
            <a:srgbClr val="F26B43"/>
          </p15:clr>
        </p15:guide>
        <p15:guide id="63" orient="horz" pos="1872" userDrawn="1">
          <p15:clr>
            <a:srgbClr val="F26B43"/>
          </p15:clr>
        </p15:guide>
        <p15:guide id="64" orient="horz" pos="2136" userDrawn="1">
          <p15:clr>
            <a:srgbClr val="547EBF"/>
          </p15:clr>
        </p15:guide>
        <p15:guide id="65" orient="horz" pos="2184" userDrawn="1">
          <p15:clr>
            <a:srgbClr val="547EBF"/>
          </p15:clr>
        </p15:guide>
        <p15:guide id="66" orient="horz" pos="576" userDrawn="1">
          <p15:clr>
            <a:srgbClr val="F26B43"/>
          </p15:clr>
        </p15:guide>
        <p15:guide id="67" orient="horz" pos="624" userDrawn="1">
          <p15:clr>
            <a:srgbClr val="F26B43"/>
          </p15:clr>
        </p15:guide>
        <p15:guide id="68" orient="horz" pos="936" userDrawn="1">
          <p15:clr>
            <a:srgbClr val="547EBF"/>
          </p15:clr>
        </p15:guide>
        <p15:guide id="69" orient="horz" pos="888" userDrawn="1">
          <p15:clr>
            <a:srgbClr val="547EBF"/>
          </p15:clr>
        </p15:guide>
        <p15:guide id="70" orient="horz" pos="3384" userDrawn="1">
          <p15:clr>
            <a:srgbClr val="547EBF"/>
          </p15:clr>
        </p15:guide>
        <p15:guide id="71" orient="horz" pos="3432" userDrawn="1">
          <p15:clr>
            <a:srgbClr val="547EBF"/>
          </p15:clr>
        </p15:guide>
        <p15:guide id="72" orient="horz" pos="3696" userDrawn="1">
          <p15:clr>
            <a:srgbClr val="F26B43"/>
          </p15:clr>
        </p15:guide>
        <p15:guide id="73" orient="horz" pos="374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microsoft.com/office/2018/10/relationships/comments" Target="../comments/modernComment_7FFFCC8D_BC75EA8E.xml"/><Relationship Id="rId1" Type="http://schemas.openxmlformats.org/officeDocument/2006/relationships/slideLayout" Target="../slideLayouts/slideLayout1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svg"/><Relationship Id="rId18" Type="http://schemas.openxmlformats.org/officeDocument/2006/relationships/image" Target="../media/image25.png"/><Relationship Id="rId3" Type="http://schemas.openxmlformats.org/officeDocument/2006/relationships/image" Target="../media/image10.svg"/><Relationship Id="rId21" Type="http://schemas.openxmlformats.org/officeDocument/2006/relationships/image" Target="../media/image28.svg"/><Relationship Id="rId7" Type="http://schemas.openxmlformats.org/officeDocument/2006/relationships/image" Target="../media/image14.svg"/><Relationship Id="rId12" Type="http://schemas.openxmlformats.org/officeDocument/2006/relationships/image" Target="../media/image19.png"/><Relationship Id="rId17" Type="http://schemas.openxmlformats.org/officeDocument/2006/relationships/image" Target="../media/image24.svg"/><Relationship Id="rId2" Type="http://schemas.openxmlformats.org/officeDocument/2006/relationships/image" Target="../media/image9.png"/><Relationship Id="rId16" Type="http://schemas.openxmlformats.org/officeDocument/2006/relationships/image" Target="../media/image23.png"/><Relationship Id="rId20" Type="http://schemas.openxmlformats.org/officeDocument/2006/relationships/image" Target="../media/image27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3.png"/><Relationship Id="rId11" Type="http://schemas.openxmlformats.org/officeDocument/2006/relationships/image" Target="../media/image18.svg"/><Relationship Id="rId5" Type="http://schemas.openxmlformats.org/officeDocument/2006/relationships/image" Target="../media/image12.svg"/><Relationship Id="rId15" Type="http://schemas.openxmlformats.org/officeDocument/2006/relationships/image" Target="../media/image22.svg"/><Relationship Id="rId23" Type="http://schemas.openxmlformats.org/officeDocument/2006/relationships/image" Target="../media/image30.svg"/><Relationship Id="rId10" Type="http://schemas.openxmlformats.org/officeDocument/2006/relationships/image" Target="../media/image17.png"/><Relationship Id="rId19" Type="http://schemas.openxmlformats.org/officeDocument/2006/relationships/image" Target="../media/image26.svg"/><Relationship Id="rId4" Type="http://schemas.openxmlformats.org/officeDocument/2006/relationships/image" Target="../media/image11.png"/><Relationship Id="rId9" Type="http://schemas.openxmlformats.org/officeDocument/2006/relationships/image" Target="../media/image16.svg"/><Relationship Id="rId14" Type="http://schemas.openxmlformats.org/officeDocument/2006/relationships/image" Target="../media/image21.png"/><Relationship Id="rId22" Type="http://schemas.openxmlformats.org/officeDocument/2006/relationships/image" Target="../media/image29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3.png"/><Relationship Id="rId3" Type="http://schemas.openxmlformats.org/officeDocument/2006/relationships/image" Target="../media/image33.png"/><Relationship Id="rId7" Type="http://schemas.openxmlformats.org/officeDocument/2006/relationships/image" Target="../media/image37.svg"/><Relationship Id="rId12" Type="http://schemas.openxmlformats.org/officeDocument/2006/relationships/image" Target="../media/image42.jpe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6.png"/><Relationship Id="rId11" Type="http://schemas.openxmlformats.org/officeDocument/2006/relationships/image" Target="../media/image41.png"/><Relationship Id="rId5" Type="http://schemas.openxmlformats.org/officeDocument/2006/relationships/image" Target="../media/image35.svg"/><Relationship Id="rId10" Type="http://schemas.openxmlformats.org/officeDocument/2006/relationships/image" Target="../media/image40.png"/><Relationship Id="rId4" Type="http://schemas.openxmlformats.org/officeDocument/2006/relationships/image" Target="../media/image34.png"/><Relationship Id="rId9" Type="http://schemas.openxmlformats.org/officeDocument/2006/relationships/image" Target="../media/image39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88ABE47-2957-5CB5-A125-1ED5ADBC0C9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>
                <a:latin typeface="Arial Black"/>
              </a:rPr>
              <a:t>UNIFIED EXPERIENCE PLATFORM (UXP)</a:t>
            </a:r>
            <a:endParaRPr lang="en-GB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EE31DF6F-F7A3-E694-F738-AC107D3A628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>
                <a:latin typeface="Arial"/>
                <a:cs typeface="Arial"/>
              </a:rPr>
              <a:t>December 2023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853262-24C2-EFED-A242-F3BD13CE3E8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138113"/>
            <a:ext cx="2743200" cy="365125"/>
          </a:xfrm>
        </p:spPr>
        <p:txBody>
          <a:bodyPr/>
          <a:lstStyle/>
          <a:p>
            <a:fld id="{28A7D70B-BA5B-454D-9E9C-85AA311AB73C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39387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96D450-2B60-FEDF-DDD9-4C13E023B3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latin typeface="Arial Black"/>
              </a:rPr>
              <a:t>UNIFIED EXPERINCE BENEFITS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BAC9A0-DD3F-4899-7060-1DCB0C03EF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10</a:t>
            </a:fld>
            <a:endParaRPr lang="en-US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1B5EBB2C-03A4-1943-DF9D-3155FE77B7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8297301"/>
              </p:ext>
            </p:extLst>
          </p:nvPr>
        </p:nvGraphicFramePr>
        <p:xfrm>
          <a:off x="418475" y="1162518"/>
          <a:ext cx="11580008" cy="4873631"/>
        </p:xfrm>
        <a:graphic>
          <a:graphicData uri="http://schemas.openxmlformats.org/drawingml/2006/table">
            <a:tbl>
              <a:tblPr firstRow="1" firstCol="1" bandRow="1">
                <a:tableStyleId>{0E3FDE45-AF77-4B5C-9715-49D594BDF05E}</a:tableStyleId>
              </a:tblPr>
              <a:tblGrid>
                <a:gridCol w="2802564">
                  <a:extLst>
                    <a:ext uri="{9D8B030D-6E8A-4147-A177-3AD203B41FA5}">
                      <a16:colId xmlns:a16="http://schemas.microsoft.com/office/drawing/2014/main" val="3199646197"/>
                    </a:ext>
                  </a:extLst>
                </a:gridCol>
                <a:gridCol w="4917441">
                  <a:extLst>
                    <a:ext uri="{9D8B030D-6E8A-4147-A177-3AD203B41FA5}">
                      <a16:colId xmlns:a16="http://schemas.microsoft.com/office/drawing/2014/main" val="530406629"/>
                    </a:ext>
                  </a:extLst>
                </a:gridCol>
                <a:gridCol w="3860003">
                  <a:extLst>
                    <a:ext uri="{9D8B030D-6E8A-4147-A177-3AD203B41FA5}">
                      <a16:colId xmlns:a16="http://schemas.microsoft.com/office/drawing/2014/main" val="2087965790"/>
                    </a:ext>
                  </a:extLst>
                </a:gridCol>
              </a:tblGrid>
              <a:tr h="665024">
                <a:tc>
                  <a:txBody>
                    <a:bodyPr/>
                    <a:lstStyle/>
                    <a:p>
                      <a:pPr algn="ctr"/>
                      <a:r>
                        <a:rPr lang="en-GB" sz="2400"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FEATURE</a:t>
                      </a:r>
                      <a:endParaRPr lang="en-GB" sz="1600">
                        <a:effectLst/>
                        <a:latin typeface="Poppins" panose="00000500000000000000" pitchFamily="2" charset="0"/>
                        <a:ea typeface="Calibri" panose="020F0502020204030204" pitchFamily="34" charset="0"/>
                        <a:cs typeface="Poppins" panose="00000500000000000000" pitchFamily="2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400"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BENEFIT</a:t>
                      </a:r>
                      <a:endParaRPr lang="en-GB" sz="1600">
                        <a:effectLst/>
                        <a:latin typeface="Poppins" panose="00000500000000000000" pitchFamily="2" charset="0"/>
                        <a:ea typeface="Calibri" panose="020F0502020204030204" pitchFamily="34" charset="0"/>
                        <a:cs typeface="Poppins" panose="00000500000000000000" pitchFamily="2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400"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PAIN SOLVED</a:t>
                      </a:r>
                      <a:endParaRPr lang="en-GB" sz="1600">
                        <a:effectLst/>
                        <a:latin typeface="Poppins" panose="00000500000000000000" pitchFamily="2" charset="0"/>
                        <a:ea typeface="Calibri" panose="020F0502020204030204" pitchFamily="34" charset="0"/>
                        <a:cs typeface="Poppins" panose="00000500000000000000" pitchFamily="2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46831528"/>
                  </a:ext>
                </a:extLst>
              </a:tr>
              <a:tr h="775862">
                <a:tc>
                  <a:txBody>
                    <a:bodyPr/>
                    <a:lstStyle/>
                    <a:p>
                      <a:pPr algn="r"/>
                      <a:r>
                        <a:rPr lang="en-GB" sz="1200" b="1"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Unified Experience Tracker (UET)</a:t>
                      </a:r>
                      <a:endParaRPr lang="en-GB" sz="1200" b="1">
                        <a:effectLst/>
                        <a:latin typeface="Poppins" panose="00000500000000000000" pitchFamily="2" charset="0"/>
                        <a:ea typeface="Calibri" panose="020F0502020204030204" pitchFamily="34" charset="0"/>
                        <a:cs typeface="Poppins" panose="000005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GB" sz="1100"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Centralized management of activation data</a:t>
                      </a:r>
                      <a:endParaRPr lang="en-GB" sz="1100">
                        <a:effectLst/>
                        <a:latin typeface="Poppins" panose="00000500000000000000" pitchFamily="2" charset="0"/>
                        <a:ea typeface="Calibri" panose="020F0502020204030204" pitchFamily="34" charset="0"/>
                        <a:cs typeface="Poppins" panose="000005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GB" sz="1100"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Scattered and disorganized data across multiple systems</a:t>
                      </a:r>
                      <a:endParaRPr lang="en-GB" sz="1100">
                        <a:effectLst/>
                        <a:latin typeface="Poppins" panose="00000500000000000000" pitchFamily="2" charset="0"/>
                        <a:ea typeface="Calibri" panose="020F0502020204030204" pitchFamily="34" charset="0"/>
                        <a:cs typeface="Poppins" panose="00000500000000000000" pitchFamily="2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583781883"/>
                  </a:ext>
                </a:extLst>
              </a:tr>
              <a:tr h="747602">
                <a:tc>
                  <a:txBody>
                    <a:bodyPr/>
                    <a:lstStyle/>
                    <a:p>
                      <a:pPr algn="r"/>
                      <a:r>
                        <a:rPr lang="en-GB" sz="1200" b="1" i="0">
                          <a:solidFill>
                            <a:srgbClr val="374151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Master campaign Identifier </a:t>
                      </a:r>
                      <a:r>
                        <a:rPr lang="en-GB" sz="1200" b="1"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&amp; </a:t>
                      </a:r>
                      <a:r>
                        <a:rPr lang="en-GB" sz="1200" b="1" i="0">
                          <a:solidFill>
                            <a:srgbClr val="374151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event date Identifier</a:t>
                      </a:r>
                      <a:endParaRPr lang="en-GB" sz="1200" b="1">
                        <a:effectLst/>
                        <a:latin typeface="Poppins" panose="00000500000000000000" pitchFamily="2" charset="0"/>
                        <a:ea typeface="Calibri" panose="020F0502020204030204" pitchFamily="34" charset="0"/>
                        <a:cs typeface="Poppins" panose="000005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GB" sz="1100"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Unique identifiers for each campaign and each day of the event</a:t>
                      </a:r>
                      <a:endParaRPr lang="en-GB" sz="1100">
                        <a:effectLst/>
                        <a:latin typeface="Poppins" panose="00000500000000000000" pitchFamily="2" charset="0"/>
                        <a:ea typeface="Calibri" panose="020F0502020204030204" pitchFamily="34" charset="0"/>
                        <a:cs typeface="Poppins" panose="000005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GB" sz="1100">
                          <a:effectLst/>
                          <a:latin typeface="Poppins" panose="00000500000000000000" pitchFamily="2" charset="0"/>
                          <a:ea typeface="Calibri" panose="020F0502020204030204" pitchFamily="34" charset="0"/>
                          <a:cs typeface="Poppins" panose="00000500000000000000" pitchFamily="2" charset="0"/>
                        </a:rPr>
                        <a:t>Enabling the data team the ability to start work with greater agility 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088270439"/>
                  </a:ext>
                </a:extLst>
              </a:tr>
              <a:tr h="387930">
                <a:tc>
                  <a:txBody>
                    <a:bodyPr/>
                    <a:lstStyle/>
                    <a:p>
                      <a:pPr algn="r"/>
                      <a:r>
                        <a:rPr lang="en-GB" sz="1200" b="1"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Unified Database</a:t>
                      </a:r>
                      <a:endParaRPr lang="en-GB" sz="1200" b="1">
                        <a:effectLst/>
                        <a:latin typeface="Poppins" panose="00000500000000000000" pitchFamily="2" charset="0"/>
                        <a:ea typeface="Calibri" panose="020F0502020204030204" pitchFamily="34" charset="0"/>
                        <a:cs typeface="Poppins" panose="000005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GB" sz="1100"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Consolidated data storage</a:t>
                      </a:r>
                      <a:endParaRPr lang="en-GB" sz="1100">
                        <a:effectLst/>
                        <a:latin typeface="Poppins" panose="00000500000000000000" pitchFamily="2" charset="0"/>
                        <a:ea typeface="Calibri" panose="020F0502020204030204" pitchFamily="34" charset="0"/>
                        <a:cs typeface="Poppins" panose="000005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GB" sz="1100"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Redundancy and inconsistency in data storage</a:t>
                      </a:r>
                      <a:endParaRPr lang="en-GB" sz="1100">
                        <a:effectLst/>
                        <a:latin typeface="Poppins" panose="00000500000000000000" pitchFamily="2" charset="0"/>
                        <a:ea typeface="Calibri" panose="020F0502020204030204" pitchFamily="34" charset="0"/>
                        <a:cs typeface="Poppins" panose="00000500000000000000" pitchFamily="2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476431798"/>
                  </a:ext>
                </a:extLst>
              </a:tr>
              <a:tr h="387930">
                <a:tc>
                  <a:txBody>
                    <a:bodyPr/>
                    <a:lstStyle/>
                    <a:p>
                      <a:pPr algn="r"/>
                      <a:r>
                        <a:rPr lang="en-GB" sz="1200" b="1" kern="1200">
                          <a:solidFill>
                            <a:schemeClr val="tx1"/>
                          </a:solidFill>
                          <a:effectLst/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Activation Calendar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GB" sz="1100" b="0" kern="1200">
                          <a:solidFill>
                            <a:schemeClr val="tx1"/>
                          </a:solidFill>
                          <a:effectLst/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Easy visualization of scheduled events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GB" sz="1100" b="0"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Inefficient event planning and tracking</a:t>
                      </a:r>
                      <a:endParaRPr lang="en-GB" sz="1100" b="0">
                        <a:effectLst/>
                        <a:latin typeface="Poppins" panose="00000500000000000000" pitchFamily="2" charset="0"/>
                        <a:ea typeface="Calibri" panose="020F0502020204030204" pitchFamily="34" charset="0"/>
                        <a:cs typeface="Poppins" panose="00000500000000000000" pitchFamily="2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214687285"/>
                  </a:ext>
                </a:extLst>
              </a:tr>
              <a:tr h="387930">
                <a:tc>
                  <a:txBody>
                    <a:bodyPr/>
                    <a:lstStyle/>
                    <a:p>
                      <a:pPr algn="r"/>
                      <a:r>
                        <a:rPr lang="en-GB" sz="1200" b="1"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Client Power BI Dashboards</a:t>
                      </a:r>
                      <a:endParaRPr lang="en-GB" sz="1200" b="1">
                        <a:effectLst/>
                        <a:latin typeface="Poppins" panose="00000500000000000000" pitchFamily="2" charset="0"/>
                        <a:ea typeface="Calibri" panose="020F0502020204030204" pitchFamily="34" charset="0"/>
                        <a:cs typeface="Poppins" panose="000005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GB" sz="1100" b="0"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Customizable data visualization for clients</a:t>
                      </a:r>
                      <a:endParaRPr lang="en-GB" sz="1100" b="0">
                        <a:effectLst/>
                        <a:latin typeface="Poppins" panose="00000500000000000000" pitchFamily="2" charset="0"/>
                        <a:ea typeface="Calibri" panose="020F0502020204030204" pitchFamily="34" charset="0"/>
                        <a:cs typeface="Poppins" panose="000005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GB" sz="1100" b="0"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Limited client access to data and insights</a:t>
                      </a:r>
                      <a:endParaRPr lang="en-GB" sz="1100" b="0">
                        <a:effectLst/>
                        <a:latin typeface="Poppins" panose="00000500000000000000" pitchFamily="2" charset="0"/>
                        <a:ea typeface="Calibri" panose="020F0502020204030204" pitchFamily="34" charset="0"/>
                        <a:cs typeface="Poppins" panose="00000500000000000000" pitchFamily="2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418469105"/>
                  </a:ext>
                </a:extLst>
              </a:tr>
              <a:tr h="632085">
                <a:tc>
                  <a:txBody>
                    <a:bodyPr/>
                    <a:lstStyle/>
                    <a:p>
                      <a:pPr algn="r"/>
                      <a:r>
                        <a:rPr lang="en-GB" sz="1200" b="1">
                          <a:effectLst/>
                          <a:latin typeface="Poppins" panose="00000500000000000000" pitchFamily="2" charset="0"/>
                          <a:ea typeface="Calibri" panose="020F0502020204030204" pitchFamily="34" charset="0"/>
                          <a:cs typeface="Poppins" panose="00000500000000000000" pitchFamily="2" charset="0"/>
                        </a:rPr>
                        <a:t>Field System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GB" sz="1100" b="0">
                          <a:effectLst/>
                          <a:latin typeface="Poppins" panose="00000500000000000000" pitchFamily="2" charset="0"/>
                          <a:ea typeface="Calibri" panose="020F0502020204030204" pitchFamily="34" charset="0"/>
                          <a:cs typeface="Poppins" panose="00000500000000000000" pitchFamily="2" charset="0"/>
                        </a:rPr>
                        <a:t>Single system for all field related data to live. Who worked the events, what materials do they need for training, and what happened during activations.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GB" sz="1100" b="0">
                          <a:effectLst/>
                          <a:latin typeface="Poppins" panose="00000500000000000000" pitchFamily="2" charset="0"/>
                          <a:ea typeface="Calibri" panose="020F0502020204030204" pitchFamily="34" charset="0"/>
                          <a:cs typeface="Poppins" panose="00000500000000000000" pitchFamily="2" charset="0"/>
                        </a:rPr>
                        <a:t>Inconsistent and disorganized data being recorded per event from field teams.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18997084"/>
                  </a:ext>
                </a:extLst>
              </a:tr>
              <a:tr h="889268">
                <a:tc>
                  <a:txBody>
                    <a:bodyPr/>
                    <a:lstStyle/>
                    <a:p>
                      <a:pPr algn="r"/>
                      <a:r>
                        <a:rPr lang="en-GB" sz="1200" b="1"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API Integration</a:t>
                      </a:r>
                      <a:endParaRPr lang="en-GB" sz="1200" b="1">
                        <a:effectLst/>
                        <a:latin typeface="Poppins" panose="00000500000000000000" pitchFamily="2" charset="0"/>
                        <a:ea typeface="Calibri" panose="020F0502020204030204" pitchFamily="34" charset="0"/>
                        <a:cs typeface="Poppins" panose="000005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Seamless communication with field management systems</a:t>
                      </a:r>
                      <a:br>
                        <a:rPr lang="en-GB" sz="1100"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br>
                        <a:rPr lang="en-GB" sz="1100"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r>
                        <a:rPr lang="en-GB" sz="1100" b="0"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Real-time data updates across UET and field management systems</a:t>
                      </a:r>
                      <a:endParaRPr lang="en-GB" sz="1100" b="0">
                        <a:effectLst/>
                        <a:latin typeface="Poppins" panose="00000500000000000000" pitchFamily="2" charset="0"/>
                        <a:ea typeface="Calibri" panose="020F0502020204030204" pitchFamily="34" charset="0"/>
                        <a:cs typeface="Poppins" panose="00000500000000000000" pitchFamily="2" charset="0"/>
                      </a:endParaRPr>
                    </a:p>
                    <a:p>
                      <a:endParaRPr lang="en-GB" sz="1100">
                        <a:effectLst/>
                        <a:latin typeface="Poppins" panose="00000500000000000000" pitchFamily="2" charset="0"/>
                        <a:ea typeface="Calibri" panose="020F0502020204030204" pitchFamily="34" charset="0"/>
                        <a:cs typeface="Poppins" panose="00000500000000000000" pitchFamily="2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Manual data transfer and synchronization</a:t>
                      </a:r>
                      <a:br>
                        <a:rPr lang="en-GB" sz="1100"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br>
                        <a:rPr lang="en-GB" sz="1100"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r>
                        <a:rPr lang="en-GB" sz="1100" b="0"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Inconsistent data between systems</a:t>
                      </a:r>
                      <a:endParaRPr lang="en-GB" sz="1100" b="0">
                        <a:effectLst/>
                        <a:latin typeface="Poppins" panose="00000500000000000000" pitchFamily="2" charset="0"/>
                        <a:ea typeface="Calibri" panose="020F0502020204030204" pitchFamily="34" charset="0"/>
                        <a:cs typeface="Poppins" panose="00000500000000000000" pitchFamily="2" charset="0"/>
                      </a:endParaRPr>
                    </a:p>
                    <a:p>
                      <a:endParaRPr lang="en-GB" sz="1100">
                        <a:effectLst/>
                        <a:latin typeface="Poppins" panose="00000500000000000000" pitchFamily="2" charset="0"/>
                        <a:ea typeface="Calibri" panose="020F0502020204030204" pitchFamily="34" charset="0"/>
                        <a:cs typeface="Poppins" panose="00000500000000000000" pitchFamily="2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6274878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355293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ECB9FEB-A89B-A9CF-5B1F-2C951EE797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latin typeface="Arial Black"/>
              </a:rPr>
              <a:t>FIELD MARKETING PLATFORM ANALYSIS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609C3E-E928-D4E1-969E-B6D53AE327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54293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D4DA29F-8CCE-79E4-F1F6-9D79BC902C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GOA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7720CA2-607B-F8E1-C69F-B71CA1B1540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rmAutofit/>
          </a:bodyPr>
          <a:lstStyle/>
          <a:p>
            <a:pPr marL="0" indent="0">
              <a:buNone/>
            </a:pPr>
            <a:r>
              <a:rPr lang="en-GB" sz="3600">
                <a:latin typeface="Arial"/>
                <a:cs typeface="Arial"/>
              </a:rPr>
              <a:t>Identify a field management cloud platform that can </a:t>
            </a:r>
            <a:r>
              <a:rPr lang="en-GB" sz="3600">
                <a:solidFill>
                  <a:schemeClr val="dk1"/>
                </a:solidFill>
                <a:latin typeface="Arial"/>
                <a:cs typeface="Arial"/>
              </a:rPr>
              <a:t>manage event details, assets, and training material and collect post-event wrap information.</a:t>
            </a:r>
          </a:p>
        </p:txBody>
      </p:sp>
    </p:spTree>
    <p:extLst>
      <p:ext uri="{BB962C8B-B14F-4D97-AF65-F5344CB8AC3E}">
        <p14:creationId xmlns:p14="http://schemas.microsoft.com/office/powerpoint/2010/main" val="13794381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1C83AA-3CDF-9803-3B07-2FD2FD5720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KEY REQUIREMENTS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74384CD3-2EB8-0C53-D479-5DA04D86F63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52219147"/>
              </p:ext>
            </p:extLst>
          </p:nvPr>
        </p:nvGraphicFramePr>
        <p:xfrm>
          <a:off x="419100" y="952500"/>
          <a:ext cx="10727155" cy="501453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445913">
                  <a:extLst>
                    <a:ext uri="{9D8B030D-6E8A-4147-A177-3AD203B41FA5}">
                      <a16:colId xmlns:a16="http://schemas.microsoft.com/office/drawing/2014/main" val="4117142821"/>
                    </a:ext>
                  </a:extLst>
                </a:gridCol>
                <a:gridCol w="8281242">
                  <a:extLst>
                    <a:ext uri="{9D8B030D-6E8A-4147-A177-3AD203B41FA5}">
                      <a16:colId xmlns:a16="http://schemas.microsoft.com/office/drawing/2014/main" val="784225133"/>
                    </a:ext>
                  </a:extLst>
                </a:gridCol>
              </a:tblGrid>
              <a:tr h="449706">
                <a:tc>
                  <a:txBody>
                    <a:bodyPr/>
                    <a:lstStyle/>
                    <a:p>
                      <a:r>
                        <a:rPr lang="en-GB"/>
                        <a:t>FE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DESCRIPTION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9817440"/>
                  </a:ext>
                </a:extLst>
              </a:tr>
              <a:tr h="449706"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100" b="1">
                          <a:effectLst/>
                        </a:rPr>
                        <a:t>Dashboard View</a:t>
                      </a:r>
                    </a:p>
                  </a:txBody>
                  <a:tcPr marL="28575" marR="28575" marT="19050" marB="19050" anchor="ctr"/>
                </a:tc>
                <a:tc>
                  <a:txBody>
                    <a:bodyPr/>
                    <a:lstStyle/>
                    <a:p>
                      <a:r>
                        <a:rPr lang="en-GB" sz="1100"/>
                        <a:t>A wrap up view for BL to see all scheduled, in progress, or recapped event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03628264"/>
                  </a:ext>
                </a:extLst>
              </a:tr>
              <a:tr h="449706"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100" b="1">
                          <a:effectLst/>
                        </a:rPr>
                        <a:t>Calendar </a:t>
                      </a:r>
                    </a:p>
                  </a:txBody>
                  <a:tcPr marL="28575" marR="28575" marT="19050" marB="19050" anchor="ctr"/>
                </a:tc>
                <a:tc>
                  <a:txBody>
                    <a:bodyPr/>
                    <a:lstStyle/>
                    <a:p>
                      <a:r>
                        <a:rPr lang="en-GB" sz="1100"/>
                        <a:t>A view of all ongoing or recapped event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5526338"/>
                  </a:ext>
                </a:extLst>
              </a:tr>
              <a:tr h="449706"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100" b="1">
                          <a:effectLst/>
                        </a:rPr>
                        <a:t>Bi-Directional API</a:t>
                      </a:r>
                    </a:p>
                  </a:txBody>
                  <a:tcPr marL="28575" marR="28575" marT="19050" marB="19050" anchor="ctr"/>
                </a:tc>
                <a:tc>
                  <a:txBody>
                    <a:bodyPr/>
                    <a:lstStyle/>
                    <a:p>
                      <a:r>
                        <a:rPr lang="en-GB" sz="1100"/>
                        <a:t>Ability to ingest GUID (and any updates to name, location, program etc) as well as POST data to Momentum BI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87600354"/>
                  </a:ext>
                </a:extLst>
              </a:tr>
              <a:tr h="449706"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100" b="1">
                          <a:effectLst/>
                        </a:rPr>
                        <a:t>Mobile optimized for field staff</a:t>
                      </a:r>
                    </a:p>
                  </a:txBody>
                  <a:tcPr marL="28575" marR="28575" marT="19050" marB="19050" anchor="ctr"/>
                </a:tc>
                <a:tc>
                  <a:txBody>
                    <a:bodyPr/>
                    <a:lstStyle/>
                    <a:p>
                      <a:r>
                        <a:rPr lang="en-GB" sz="1100"/>
                        <a:t>Mobile phone friendly (native app or web app) for field staff to record data from their phone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22699040"/>
                  </a:ext>
                </a:extLst>
              </a:tr>
              <a:tr h="517470"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100" b="1">
                          <a:effectLst/>
                        </a:rPr>
                        <a:t>Attachments for Event</a:t>
                      </a:r>
                    </a:p>
                  </a:txBody>
                  <a:tcPr marL="28575" marR="28575" marT="19050" marB="19050" anchor="ctr"/>
                </a:tc>
                <a:tc>
                  <a:txBody>
                    <a:bodyPr/>
                    <a:lstStyle/>
                    <a:p>
                      <a:r>
                        <a:rPr lang="en-GB" sz="1100"/>
                        <a:t>Momentum to upload training documents, troubleshooting guides, directions to site location, etc—easily accessible for field staff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20011569"/>
                  </a:ext>
                </a:extLst>
              </a:tr>
              <a:tr h="449706"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100" b="1">
                          <a:effectLst/>
                        </a:rPr>
                        <a:t>Offline Data Entry</a:t>
                      </a:r>
                    </a:p>
                  </a:txBody>
                  <a:tcPr marL="28575" marR="28575" marT="19050" marB="19050" anchor="ctr"/>
                </a:tc>
                <a:tc>
                  <a:txBody>
                    <a:bodyPr/>
                    <a:lstStyle/>
                    <a:p>
                      <a:r>
                        <a:rPr lang="en-GB" sz="1100"/>
                        <a:t>Option to push data to live if network connection is unstable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71597260"/>
                  </a:ext>
                </a:extLst>
              </a:tr>
              <a:tr h="449706"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100" b="1">
                          <a:effectLst/>
                        </a:rPr>
                        <a:t>Media Upload and Tagging</a:t>
                      </a:r>
                    </a:p>
                  </a:txBody>
                  <a:tcPr marL="28575" marR="28575" marT="19050" marB="19050" anchor="ctr"/>
                </a:tc>
                <a:tc>
                  <a:txBody>
                    <a:bodyPr/>
                    <a:lstStyle/>
                    <a:p>
                      <a:r>
                        <a:rPr lang="en-GB" sz="1100"/>
                        <a:t>Video and photo upload—Momentum can tag photos/rate photos to easily use for client report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01354624"/>
                  </a:ext>
                </a:extLst>
              </a:tr>
              <a:tr h="449706"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100" b="1">
                          <a:effectLst/>
                        </a:rPr>
                        <a:t>SMS Event Reminders</a:t>
                      </a:r>
                    </a:p>
                  </a:txBody>
                  <a:tcPr marL="28575" marR="28575" marT="19050" marB="19050" anchor="ctr"/>
                </a:tc>
                <a:tc>
                  <a:txBody>
                    <a:bodyPr/>
                    <a:lstStyle/>
                    <a:p>
                      <a:r>
                        <a:rPr lang="en-GB" sz="1100"/>
                        <a:t>Push notifications for field staff to work or recap event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86940102"/>
                  </a:ext>
                </a:extLst>
              </a:tr>
              <a:tr h="449706"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100" b="1">
                          <a:effectLst/>
                        </a:rPr>
                        <a:t>Recap Notifications</a:t>
                      </a:r>
                    </a:p>
                  </a:txBody>
                  <a:tcPr marL="28575" marR="28575" marT="19050" marB="19050" anchor="ctr"/>
                </a:tc>
                <a:tc>
                  <a:txBody>
                    <a:bodyPr/>
                    <a:lstStyle/>
                    <a:p>
                      <a:r>
                        <a:rPr lang="en-GB" sz="1100"/>
                        <a:t>Reminders to recap events (field staff)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98377616"/>
                  </a:ext>
                </a:extLst>
              </a:tr>
              <a:tr h="449706"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100" b="1">
                          <a:effectLst/>
                        </a:rPr>
                        <a:t>Review Recap Reports prior to submitting</a:t>
                      </a:r>
                    </a:p>
                  </a:txBody>
                  <a:tcPr marL="28575" marR="28575" marT="19050" marB="19050" anchor="ctr"/>
                </a:tc>
                <a:tc>
                  <a:txBody>
                    <a:bodyPr/>
                    <a:lstStyle/>
                    <a:p>
                      <a:r>
                        <a:rPr lang="en-GB" sz="1100"/>
                        <a:t>Recap data will not push to Momo BI unless "approved" by Momentum staff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79856629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A9A9F5-71F4-7C80-7239-06A7AB99D2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439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5E8E97F-BFC3-25EA-3FD8-1E8CC22A71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sz="3200">
                <a:solidFill>
                  <a:srgbClr val="000000"/>
                </a:solidFill>
                <a:latin typeface="Arial Black"/>
              </a:rPr>
              <a:t>FIELD MARKETING FEATURES</a:t>
            </a:r>
            <a:endParaRPr lang="en-GB">
              <a:latin typeface="Arial Black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948ED53-7B5F-F9EB-BBD7-7BAF311BFE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9100" y="1238250"/>
            <a:ext cx="11353800" cy="4381499"/>
          </a:xfrm>
        </p:spPr>
        <p:txBody>
          <a:bodyPr/>
          <a:lstStyle/>
          <a:p>
            <a:pPr marL="0" indent="0">
              <a:buNone/>
            </a:pPr>
            <a:r>
              <a:rPr lang="en-GB"/>
              <a:t>T</a:t>
            </a:r>
            <a:r>
              <a:rPr lang="en-GB" sz="1600"/>
              <a:t>op 3 Platforms + </a:t>
            </a:r>
            <a:r>
              <a:rPr lang="en-GB" sz="1600" err="1"/>
              <a:t>AnyRoad</a:t>
            </a:r>
            <a:r>
              <a:rPr lang="en-GB" sz="1600"/>
              <a:t> that meet the requirements of both Verizon and overall Momentum needs. </a:t>
            </a:r>
          </a:p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0EDDF7-9916-0968-14F1-C94ED577EC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14</a:t>
            </a:fld>
            <a:endParaRPr lang="en"/>
          </a:p>
        </p:txBody>
      </p:sp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38FF2B7A-98E3-D83A-5E17-3CA569A083E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495"/>
          <a:stretch/>
        </p:blipFill>
        <p:spPr>
          <a:xfrm>
            <a:off x="609600" y="1875052"/>
            <a:ext cx="10401300" cy="4251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0185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A0F83B1-F8FC-15EF-BFD5-779FFFCA1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sz="3200">
                <a:latin typeface="Arial Black"/>
              </a:rPr>
              <a:t>FIELD MARKETING - COMPARISON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5D0A65-BDB4-F669-6180-564CE97887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15</a:t>
            </a:fld>
            <a:endParaRPr lang="en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AC2A5E03-D96F-26E6-AB44-8863CF3B80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3479961"/>
              </p:ext>
            </p:extLst>
          </p:nvPr>
        </p:nvGraphicFramePr>
        <p:xfrm>
          <a:off x="419099" y="989709"/>
          <a:ext cx="11353798" cy="5770120"/>
        </p:xfrm>
        <a:graphic>
          <a:graphicData uri="http://schemas.openxmlformats.org/drawingml/2006/table">
            <a:tbl>
              <a:tblPr firstRow="1" firstCol="1">
                <a:tableStyleId>{0E3FDE45-AF77-4B5C-9715-49D594BDF05E}</a:tableStyleId>
              </a:tblPr>
              <a:tblGrid>
                <a:gridCol w="2736401">
                  <a:extLst>
                    <a:ext uri="{9D8B030D-6E8A-4147-A177-3AD203B41FA5}">
                      <a16:colId xmlns:a16="http://schemas.microsoft.com/office/drawing/2014/main" val="3218863946"/>
                    </a:ext>
                  </a:extLst>
                </a:gridCol>
                <a:gridCol w="1844426">
                  <a:extLst>
                    <a:ext uri="{9D8B030D-6E8A-4147-A177-3AD203B41FA5}">
                      <a16:colId xmlns:a16="http://schemas.microsoft.com/office/drawing/2014/main" val="3022446406"/>
                    </a:ext>
                  </a:extLst>
                </a:gridCol>
                <a:gridCol w="2025843">
                  <a:extLst>
                    <a:ext uri="{9D8B030D-6E8A-4147-A177-3AD203B41FA5}">
                      <a16:colId xmlns:a16="http://schemas.microsoft.com/office/drawing/2014/main" val="986614661"/>
                    </a:ext>
                  </a:extLst>
                </a:gridCol>
                <a:gridCol w="2373564">
                  <a:extLst>
                    <a:ext uri="{9D8B030D-6E8A-4147-A177-3AD203B41FA5}">
                      <a16:colId xmlns:a16="http://schemas.microsoft.com/office/drawing/2014/main" val="2324835105"/>
                    </a:ext>
                  </a:extLst>
                </a:gridCol>
                <a:gridCol w="2373564">
                  <a:extLst>
                    <a:ext uri="{9D8B030D-6E8A-4147-A177-3AD203B41FA5}">
                      <a16:colId xmlns:a16="http://schemas.microsoft.com/office/drawing/2014/main" val="3451087075"/>
                    </a:ext>
                  </a:extLst>
                </a:gridCol>
              </a:tblGrid>
              <a:tr h="487680">
                <a:tc>
                  <a:txBody>
                    <a:bodyPr/>
                    <a:lstStyle/>
                    <a:p>
                      <a:pPr rtl="0" fontAlgn="b"/>
                      <a:endParaRPr lang="en-GB" sz="1500">
                        <a:effectLst/>
                      </a:endParaRPr>
                    </a:p>
                  </a:txBody>
                  <a:tcPr marL="23751" marR="23751" marT="15834" marB="15834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500" b="1">
                          <a:effectLst/>
                        </a:rPr>
                        <a:t>Pinata</a:t>
                      </a:r>
                    </a:p>
                  </a:txBody>
                  <a:tcPr marL="23751" marR="23751" marT="15834" marB="15834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500" b="1" err="1">
                          <a:effectLst/>
                        </a:rPr>
                        <a:t>Brandscopic</a:t>
                      </a:r>
                    </a:p>
                  </a:txBody>
                  <a:tcPr marL="23751" marR="23751" marT="15834" marB="15834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500" b="1">
                          <a:effectLst/>
                        </a:rPr>
                        <a:t>Network Ninja</a:t>
                      </a:r>
                    </a:p>
                  </a:txBody>
                  <a:tcPr marL="23751" marR="23751" marT="15834" marB="15834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GB" sz="1500" b="1" err="1">
                          <a:effectLst/>
                        </a:rPr>
                        <a:t>AnyRoad</a:t>
                      </a:r>
                    </a:p>
                  </a:txBody>
                  <a:tcPr marL="23751" marR="23751" marT="15833" marB="15833" anchor="ctr"/>
                </a:tc>
                <a:extLst>
                  <a:ext uri="{0D108BD9-81ED-4DB2-BD59-A6C34878D82A}">
                    <a16:rowId xmlns:a16="http://schemas.microsoft.com/office/drawing/2014/main" val="2976657629"/>
                  </a:ext>
                </a:extLst>
              </a:tr>
              <a:tr h="259674">
                <a:tc gridSpan="4">
                  <a:txBody>
                    <a:bodyPr/>
                    <a:lstStyle/>
                    <a:p>
                      <a:pPr algn="ctr" rtl="0" fontAlgn="b"/>
                      <a:r>
                        <a:rPr lang="en-GB" sz="1500" b="1">
                          <a:effectLst/>
                        </a:rPr>
                        <a:t>STRENGTHS</a:t>
                      </a:r>
                    </a:p>
                  </a:txBody>
                  <a:tcPr marL="23751" marR="23751" marT="15834" marB="15834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rtl="0" fontAlgn="b"/>
                      <a:endParaRPr lang="en-GB" sz="1500">
                        <a:effectLst/>
                      </a:endParaRPr>
                    </a:p>
                  </a:txBody>
                  <a:tcPr marL="23751" marR="23751" marT="15834" marB="15834" anchor="ctr">
                    <a:solidFill>
                      <a:schemeClr val="tx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rtl="0" fontAlgn="b"/>
                      <a:endParaRPr lang="en-GB" sz="1500">
                        <a:effectLst/>
                      </a:endParaRPr>
                    </a:p>
                  </a:txBody>
                  <a:tcPr marL="23751" marR="23751" marT="15834" marB="15834" anchor="ctr">
                    <a:solidFill>
                      <a:schemeClr val="tx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rtl="0" fontAlgn="b"/>
                      <a:endParaRPr lang="en-GB" sz="1500">
                        <a:effectLst/>
                      </a:endParaRPr>
                    </a:p>
                  </a:txBody>
                  <a:tcPr marL="23751" marR="23751" marT="15834" marB="15834" anchor="ctr">
                    <a:solidFill>
                      <a:schemeClr val="tx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GB" sz="1500" b="1">
                        <a:effectLst/>
                      </a:endParaRPr>
                    </a:p>
                  </a:txBody>
                  <a:tcPr marL="23751" marR="23751" marT="15833" marB="15833" anchor="ctr">
                    <a:lnB w="12700">
                      <a:solidFill>
                        <a:schemeClr val="tx1"/>
                      </a:solidFill>
                    </a:lnB>
                    <a:solidFill>
                      <a:schemeClr val="tx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8624796"/>
                  </a:ext>
                </a:extLst>
              </a:tr>
              <a:tr h="487680"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GB" sz="1500" b="1" i="1">
                          <a:effectLst/>
                        </a:rPr>
                        <a:t>Definition</a:t>
                      </a:r>
                    </a:p>
                  </a:txBody>
                  <a:tcPr marL="23751" marR="23751" marT="15833" marB="15833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GB" sz="1000" i="1">
                          <a:solidFill>
                            <a:schemeClr val="tx1"/>
                          </a:solidFill>
                          <a:effectLst/>
                        </a:rPr>
                        <a:t>Easy to use, attractive platform with the ability to onboard and integrate with staffing agencies for robust field marketing recaps</a:t>
                      </a:r>
                      <a:endParaRPr lang="en-GB" sz="1000">
                        <a:solidFill>
                          <a:srgbClr val="00B050"/>
                        </a:solidFill>
                        <a:effectLst/>
                      </a:endParaRPr>
                    </a:p>
                  </a:txBody>
                  <a:tcPr marL="23751" marR="23751" marT="15833" marB="15833" anchor="ctr"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GB" sz="1000" b="0" i="1" u="none" strike="noStrike" noProof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imple, no frills UI, gathers field marketing recaps from teams and organizes the data into one platform that will easily transfer data to MOMO BI</a:t>
                      </a:r>
                    </a:p>
                  </a:txBody>
                  <a:tcPr marL="23751" marR="23751" marT="15833" marB="15833" anchor="ctr"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GB" sz="1050" i="1">
                          <a:effectLst/>
                        </a:rPr>
                        <a:t>Field marketing recapping, asset management system. Has many custom features that require custom builds and money to create and test. </a:t>
                      </a:r>
                    </a:p>
                  </a:txBody>
                  <a:tcPr marL="23751" marR="23751" marT="15833" marB="15833" anchor="ctr"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GB" sz="1050" i="1">
                          <a:effectLst/>
                        </a:rPr>
                        <a:t>Primarily supports ticketed events and shows the consumer journey once a ticket to an event is purchased. Can support QR code creation, registrations and surveying but does not allow for field marketing recaps and users within the system. </a:t>
                      </a:r>
                    </a:p>
                  </a:txBody>
                  <a:tcPr marL="23751" marR="23751" marT="15833" marB="15833" anchor="ctr"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4180376"/>
                  </a:ext>
                </a:extLst>
              </a:tr>
              <a:tr h="487680"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500" b="1">
                          <a:effectLst/>
                        </a:rPr>
                        <a:t>Superior Qualities</a:t>
                      </a:r>
                    </a:p>
                  </a:txBody>
                  <a:tcPr marL="23751" marR="23751" marT="15834" marB="15834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200">
                          <a:solidFill>
                            <a:srgbClr val="00B050"/>
                          </a:solidFill>
                          <a:effectLst/>
                        </a:rPr>
                        <a:t>Attractive UI</a:t>
                      </a:r>
                    </a:p>
                  </a:txBody>
                  <a:tcPr marL="23751" marR="23751" marT="15834" marB="15834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200">
                          <a:solidFill>
                            <a:srgbClr val="00B050"/>
                          </a:solidFill>
                          <a:effectLst/>
                        </a:rPr>
                        <a:t>Very Simple</a:t>
                      </a:r>
                    </a:p>
                  </a:txBody>
                  <a:tcPr marL="23751" marR="23751" marT="15834" marB="15834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200">
                          <a:effectLst/>
                        </a:rPr>
                        <a:t>Robust Scheduling</a:t>
                      </a:r>
                    </a:p>
                  </a:txBody>
                  <a:tcPr marL="23751" marR="23751" marT="15834" marB="15834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GB" sz="1200">
                          <a:effectLst/>
                        </a:rPr>
                        <a:t>Ticketed event support</a:t>
                      </a:r>
                    </a:p>
                  </a:txBody>
                  <a:tcPr marL="23751" marR="23751" marT="15833" marB="15833" anchor="ctr"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9370823"/>
                  </a:ext>
                </a:extLst>
              </a:tr>
              <a:tr h="715686"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500" b="1">
                          <a:effectLst/>
                        </a:rPr>
                        <a:t>Core Competencies</a:t>
                      </a:r>
                    </a:p>
                  </a:txBody>
                  <a:tcPr marL="23751" marR="23751" marT="15834" marB="15834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200">
                          <a:effectLst/>
                        </a:rPr>
                        <a:t>Staffing Agency Integration</a:t>
                      </a:r>
                    </a:p>
                  </a:txBody>
                  <a:tcPr marL="23751" marR="23751" marT="15834" marB="15834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200">
                          <a:solidFill>
                            <a:srgbClr val="00B050"/>
                          </a:solidFill>
                          <a:effectLst/>
                        </a:rPr>
                        <a:t>Bi-Directional API</a:t>
                      </a:r>
                    </a:p>
                  </a:txBody>
                  <a:tcPr marL="23751" marR="23751" marT="15834" marB="15834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200">
                          <a:effectLst/>
                        </a:rPr>
                        <a:t>Emailed custom reports</a:t>
                      </a:r>
                    </a:p>
                  </a:txBody>
                  <a:tcPr marL="23751" marR="23751" marT="15834" marB="15834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GB" sz="1200">
                          <a:effectLst/>
                        </a:rPr>
                        <a:t>Post event sales</a:t>
                      </a:r>
                    </a:p>
                  </a:txBody>
                  <a:tcPr marL="23751" marR="23751" marT="15833" marB="15833" anchor="ctr"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1376718"/>
                  </a:ext>
                </a:extLst>
              </a:tr>
              <a:tr h="715686"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500" b="1">
                          <a:effectLst/>
                        </a:rPr>
                        <a:t>Technological Advancement</a:t>
                      </a:r>
                    </a:p>
                  </a:txBody>
                  <a:tcPr marL="23751" marR="23751" marT="15834" marB="15834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200">
                          <a:effectLst/>
                        </a:rPr>
                        <a:t>Offline Data Capture</a:t>
                      </a:r>
                    </a:p>
                  </a:txBody>
                  <a:tcPr marL="23751" marR="23751" marT="15834" marB="15834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200">
                          <a:solidFill>
                            <a:srgbClr val="00B050"/>
                          </a:solidFill>
                          <a:effectLst/>
                        </a:rPr>
                        <a:t>Offline Data Capture</a:t>
                      </a:r>
                    </a:p>
                  </a:txBody>
                  <a:tcPr marL="23751" marR="23751" marT="15834" marB="15834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200">
                          <a:effectLst/>
                        </a:rPr>
                        <a:t>Custom Report builder</a:t>
                      </a:r>
                    </a:p>
                  </a:txBody>
                  <a:tcPr marL="23751" marR="23751" marT="15834" marB="15834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GB" sz="1200">
                          <a:effectLst/>
                        </a:rPr>
                        <a:t>Ticket purchasing</a:t>
                      </a:r>
                    </a:p>
                  </a:txBody>
                  <a:tcPr marL="23751" marR="23751" marT="15833" marB="15833" anchor="ctr"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4565634"/>
                  </a:ext>
                </a:extLst>
              </a:tr>
              <a:tr h="259674">
                <a:tc gridSpan="4">
                  <a:txBody>
                    <a:bodyPr/>
                    <a:lstStyle/>
                    <a:p>
                      <a:pPr algn="ctr" rtl="0" fontAlgn="b"/>
                      <a:r>
                        <a:rPr lang="en-GB" sz="1500" b="1">
                          <a:effectLst/>
                        </a:rPr>
                        <a:t>WEAKNESSES</a:t>
                      </a:r>
                    </a:p>
                  </a:txBody>
                  <a:tcPr marL="23751" marR="23751" marT="15834" marB="15834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rtl="0" fontAlgn="b"/>
                      <a:endParaRPr lang="en-GB" sz="1500">
                        <a:effectLst/>
                      </a:endParaRPr>
                    </a:p>
                  </a:txBody>
                  <a:tcPr marL="23751" marR="23751" marT="15834" marB="15834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rtl="0" fontAlgn="b"/>
                      <a:endParaRPr lang="en-GB" sz="1500">
                        <a:effectLst/>
                      </a:endParaRPr>
                    </a:p>
                  </a:txBody>
                  <a:tcPr marL="23751" marR="23751" marT="15834" marB="15834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rtl="0" fontAlgn="b"/>
                      <a:endParaRPr lang="en-GB" sz="1500">
                        <a:effectLst/>
                      </a:endParaRPr>
                    </a:p>
                  </a:txBody>
                  <a:tcPr marL="23751" marR="23751" marT="15834" marB="15834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GB" sz="1500" b="1">
                        <a:effectLst/>
                      </a:endParaRPr>
                    </a:p>
                  </a:txBody>
                  <a:tcPr marL="23751" marR="23751" marT="15833" marB="15833" anchor="ctr"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973619"/>
                  </a:ext>
                </a:extLst>
              </a:tr>
              <a:tr h="487680"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500" b="1">
                          <a:effectLst/>
                        </a:rPr>
                        <a:t>Incompetencies</a:t>
                      </a:r>
                    </a:p>
                  </a:txBody>
                  <a:tcPr marL="23751" marR="23751" marT="15834" marB="15834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200">
                          <a:solidFill>
                            <a:srgbClr val="FF0000"/>
                          </a:solidFill>
                          <a:effectLst/>
                        </a:rPr>
                        <a:t>No API</a:t>
                      </a:r>
                    </a:p>
                  </a:txBody>
                  <a:tcPr marL="23751" marR="23751" marT="15834" marB="15834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200">
                          <a:effectLst/>
                        </a:rPr>
                        <a:t>Basic Interface</a:t>
                      </a:r>
                    </a:p>
                  </a:txBody>
                  <a:tcPr marL="23751" marR="23751" marT="15834" marB="15834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200">
                          <a:solidFill>
                            <a:srgbClr val="FF0000"/>
                          </a:solidFill>
                          <a:effectLst/>
                        </a:rPr>
                        <a:t>Difficult to Navigate</a:t>
                      </a:r>
                    </a:p>
                  </a:txBody>
                  <a:tcPr marL="23751" marR="23751" marT="15834" marB="15834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GB" sz="1200">
                          <a:solidFill>
                            <a:srgbClr val="FF0000"/>
                          </a:solidFill>
                          <a:effectLst/>
                        </a:rPr>
                        <a:t>No qualitive data</a:t>
                      </a:r>
                    </a:p>
                  </a:txBody>
                  <a:tcPr marL="23751" marR="23751" marT="15833" marB="15833" anchor="ctr"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2077448"/>
                  </a:ext>
                </a:extLst>
              </a:tr>
              <a:tr h="487680"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500" b="1">
                          <a:effectLst/>
                        </a:rPr>
                        <a:t>Areas of Improvement</a:t>
                      </a:r>
                    </a:p>
                  </a:txBody>
                  <a:tcPr marL="23751" marR="23751" marT="15834" marB="15834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200">
                          <a:effectLst/>
                        </a:rPr>
                        <a:t>No dashboard</a:t>
                      </a:r>
                    </a:p>
                  </a:txBody>
                  <a:tcPr marL="23751" marR="23751" marT="15834" marB="15834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200">
                          <a:effectLst/>
                        </a:rPr>
                        <a:t>Overall UI</a:t>
                      </a:r>
                    </a:p>
                  </a:txBody>
                  <a:tcPr marL="23751" marR="23751" marT="15834" marB="15834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200">
                          <a:effectLst/>
                        </a:rPr>
                        <a:t>Learning Curve</a:t>
                      </a:r>
                    </a:p>
                  </a:txBody>
                  <a:tcPr marL="23751" marR="23751" marT="15834" marB="15834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GB" sz="1200">
                          <a:effectLst/>
                        </a:rPr>
                        <a:t>Add field staff users and dashboard </a:t>
                      </a:r>
                    </a:p>
                  </a:txBody>
                  <a:tcPr marL="23751" marR="23751" marT="15833" marB="15833" anchor="ctr"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99320"/>
                  </a:ext>
                </a:extLst>
              </a:tr>
              <a:tr h="715686"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500" b="1">
                          <a:effectLst/>
                        </a:rPr>
                        <a:t>Obstacles</a:t>
                      </a:r>
                    </a:p>
                  </a:txBody>
                  <a:tcPr marL="23751" marR="23751" marT="15834" marB="15834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200">
                          <a:effectLst/>
                        </a:rPr>
                        <a:t>Most Expensive</a:t>
                      </a:r>
                    </a:p>
                  </a:txBody>
                  <a:tcPr marL="23751" marR="23751" marT="15834" marB="15834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200">
                          <a:effectLst/>
                        </a:rPr>
                        <a:t>Small Support Team</a:t>
                      </a:r>
                    </a:p>
                  </a:txBody>
                  <a:tcPr marL="23751" marR="23751" marT="15834" marB="15834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200">
                          <a:effectLst/>
                        </a:rPr>
                        <a:t>Load Lag</a:t>
                      </a:r>
                    </a:p>
                  </a:txBody>
                  <a:tcPr marL="23751" marR="23751" marT="15834" marB="15834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GB" sz="1200">
                          <a:effectLst/>
                        </a:rPr>
                        <a:t>No field marketing users/recaps</a:t>
                      </a:r>
                    </a:p>
                  </a:txBody>
                  <a:tcPr marL="23751" marR="23751" marT="15833" marB="15833" anchor="ctr">
                    <a:lnT w="12700">
                      <a:solidFill>
                        <a:schemeClr val="tx1"/>
                      </a:solidFill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5442911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5577942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A0F83B1-F8FC-15EF-BFD5-779FFFCA1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sz="3200"/>
              <a:t>COST COMPARISON 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5D0A65-BDB4-F669-6180-564CE97887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16</a:t>
            </a:fld>
            <a:endParaRPr lang="en"/>
          </a:p>
        </p:txBody>
      </p:sp>
      <p:graphicFrame>
        <p:nvGraphicFramePr>
          <p:cNvPr id="2" name="Google Shape;137;p26">
            <a:extLst>
              <a:ext uri="{FF2B5EF4-FFF2-40B4-BE49-F238E27FC236}">
                <a16:creationId xmlns:a16="http://schemas.microsoft.com/office/drawing/2014/main" id="{69BE81C2-2E5C-CB9F-CBAA-C17A7F2BDF3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10126950"/>
              </p:ext>
            </p:extLst>
          </p:nvPr>
        </p:nvGraphicFramePr>
        <p:xfrm>
          <a:off x="680275" y="2639555"/>
          <a:ext cx="9947235" cy="2485835"/>
        </p:xfrm>
        <a:graphic>
          <a:graphicData uri="http://schemas.openxmlformats.org/drawingml/2006/table">
            <a:tbl>
              <a:tblPr firstRow="1">
                <a:tableStyleId>{72833802-FEF1-4C79-8D5D-14CF1EAF98D9}</a:tableStyleId>
              </a:tblPr>
              <a:tblGrid>
                <a:gridCol w="16975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727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1780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25914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4567"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300" b="1"/>
                    </a:p>
                  </a:txBody>
                  <a:tcPr marL="38100" marR="38100" marT="25400" marB="254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 b="1"/>
                        <a:t>Brandscopic</a:t>
                      </a:r>
                      <a:endParaRPr sz="1300" b="1"/>
                    </a:p>
                  </a:txBody>
                  <a:tcPr marL="38100" marR="38100" marT="25400" marB="254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 b="1"/>
                        <a:t>Pinata</a:t>
                      </a:r>
                      <a:endParaRPr sz="1300" b="1"/>
                    </a:p>
                  </a:txBody>
                  <a:tcPr marL="38100" marR="38100" marT="25400" marB="254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 b="1"/>
                        <a:t>Network Ninja</a:t>
                      </a:r>
                      <a:endParaRPr sz="1300" b="1"/>
                    </a:p>
                  </a:txBody>
                  <a:tcPr marL="38100" marR="38100" marT="25400" marB="2540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81067"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/year</a:t>
                      </a:r>
                      <a:endParaRPr sz="1300"/>
                    </a:p>
                  </a:txBody>
                  <a:tcPr marL="38100" marR="38100" marT="25400" marB="254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$12,000 /year</a:t>
                      </a:r>
                      <a:endParaRPr sz="1300"/>
                    </a:p>
                  </a:txBody>
                  <a:tcPr marL="38100" marR="38100" marT="25400" marB="254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$30,398/year</a:t>
                      </a:r>
                      <a:endParaRPr sz="1300"/>
                    </a:p>
                  </a:txBody>
                  <a:tcPr marL="38100" marR="38100" marT="25400" marB="254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$12,000 / year, unlimited tasks and events</a:t>
                      </a:r>
                      <a:endParaRPr sz="1300"/>
                    </a:p>
                  </a:txBody>
                  <a:tcPr marL="38100" marR="38100" marT="25400" marB="2540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4567"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/month</a:t>
                      </a:r>
                      <a:endParaRPr sz="1300"/>
                    </a:p>
                  </a:txBody>
                  <a:tcPr marL="38100" marR="38100" marT="25400" marB="254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$1,000.00</a:t>
                      </a:r>
                      <a:endParaRPr sz="1300"/>
                    </a:p>
                  </a:txBody>
                  <a:tcPr marL="38100" marR="38100" marT="25400" marB="254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$1,666.00</a:t>
                      </a:r>
                      <a:endParaRPr sz="1300"/>
                    </a:p>
                  </a:txBody>
                  <a:tcPr marL="38100" marR="38100" marT="25400" marB="254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$1,000.00</a:t>
                      </a:r>
                      <a:endParaRPr sz="1300"/>
                    </a:p>
                  </a:txBody>
                  <a:tcPr marL="38100" marR="38100" marT="25400" marB="2540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81067"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details</a:t>
                      </a:r>
                      <a:endParaRPr sz="1300"/>
                    </a:p>
                  </a:txBody>
                  <a:tcPr marL="38100" marR="38100" marT="25400" marB="254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Event Hours per month: 3k</a:t>
                      </a:r>
                      <a:endParaRPr sz="1300"/>
                    </a:p>
                  </a:txBody>
                  <a:tcPr marL="38100" marR="38100" marT="25400" marB="254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100 tasks per month</a:t>
                      </a:r>
                      <a:endParaRPr sz="1300"/>
                    </a:p>
                  </a:txBody>
                  <a:tcPr marL="38100" marR="38100" marT="25400" marB="254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unlimited users and events</a:t>
                      </a:r>
                      <a:endParaRPr sz="1300"/>
                    </a:p>
                  </a:txBody>
                  <a:tcPr marL="38100" marR="38100" marT="25400" marB="2540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4567"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users</a:t>
                      </a:r>
                      <a:endParaRPr sz="1300"/>
                    </a:p>
                  </a:txBody>
                  <a:tcPr marL="38100" marR="38100" marT="25400" marB="254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Unlimited users</a:t>
                      </a:r>
                      <a:endParaRPr sz="1300"/>
                    </a:p>
                  </a:txBody>
                  <a:tcPr marL="38100" marR="38100" marT="25400" marB="254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40 users / $49/ USER</a:t>
                      </a:r>
                      <a:endParaRPr sz="1300"/>
                    </a:p>
                  </a:txBody>
                  <a:tcPr marL="38100" marR="38100" marT="25400" marB="254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300"/>
                        <a:t>Unlimited</a:t>
                      </a:r>
                      <a:endParaRPr sz="1300"/>
                    </a:p>
                  </a:txBody>
                  <a:tcPr marL="38100" marR="38100" marT="25400" marB="2540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" name="Google Shape;138;p26">
            <a:extLst>
              <a:ext uri="{FF2B5EF4-FFF2-40B4-BE49-F238E27FC236}">
                <a16:creationId xmlns:a16="http://schemas.microsoft.com/office/drawing/2014/main" id="{E379BE6D-26D9-433E-5EEE-B6C21902DBB4}"/>
              </a:ext>
            </a:extLst>
          </p:cNvPr>
          <p:cNvSpPr txBox="1"/>
          <p:nvPr/>
        </p:nvSpPr>
        <p:spPr>
          <a:xfrm>
            <a:off x="419099" y="981796"/>
            <a:ext cx="10715541" cy="16009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marL="649797" indent="-285750">
              <a:lnSpc>
                <a:spcPct val="150000"/>
              </a:lnSpc>
              <a:buSzPts val="1100"/>
              <a:buFont typeface="Arial" panose="020B0604020202020204" pitchFamily="34" charset="0"/>
              <a:buChar char="•"/>
            </a:pPr>
            <a:r>
              <a:rPr lang="en" sz="1467" b="1"/>
              <a:t>Brandscopic: </a:t>
            </a:r>
            <a:r>
              <a:rPr lang="en" sz="1467"/>
              <a:t>Unlimited users for all admin, client, or field staff user seats </a:t>
            </a:r>
          </a:p>
          <a:p>
            <a:pPr marL="649797" indent="-285750">
              <a:lnSpc>
                <a:spcPct val="150000"/>
              </a:lnSpc>
              <a:buSzPts val="1100"/>
              <a:buFont typeface="Arial" panose="020B0604020202020204" pitchFamily="34" charset="0"/>
              <a:buChar char="•"/>
            </a:pPr>
            <a:r>
              <a:rPr lang="en" sz="1467" b="1"/>
              <a:t>Brandscopic:</a:t>
            </a:r>
            <a:r>
              <a:rPr lang="en" sz="1467"/>
              <a:t> Cap at 3k event hours per month: </a:t>
            </a:r>
            <a:r>
              <a:rPr lang="en-GB" sz="1467"/>
              <a:t>equivalent</a:t>
            </a:r>
            <a:r>
              <a:rPr lang="en" sz="1467"/>
              <a:t> of </a:t>
            </a:r>
            <a:r>
              <a:rPr lang="en" sz="1467" i="1"/>
              <a:t>300 events per month. each 10 hours long  </a:t>
            </a:r>
            <a:endParaRPr sz="1467" i="1"/>
          </a:p>
          <a:p>
            <a:pPr marL="649797" indent="-285750">
              <a:lnSpc>
                <a:spcPct val="150000"/>
              </a:lnSpc>
              <a:buSzPts val="1100"/>
              <a:buFont typeface="Arial" panose="020B0604020202020204" pitchFamily="34" charset="0"/>
              <a:buChar char="•"/>
            </a:pPr>
            <a:r>
              <a:rPr lang="en-GB" sz="1467" b="1"/>
              <a:t>Pinata:</a:t>
            </a:r>
            <a:r>
              <a:rPr lang="en-GB" sz="1467"/>
              <a:t> $49 / user; no volume discounts</a:t>
            </a:r>
          </a:p>
          <a:p>
            <a:pPr marL="649797" indent="-285750">
              <a:lnSpc>
                <a:spcPct val="150000"/>
              </a:lnSpc>
              <a:buSzPts val="1100"/>
              <a:buFont typeface="Arial" panose="020B0604020202020204" pitchFamily="34" charset="0"/>
              <a:buChar char="•"/>
            </a:pPr>
            <a:r>
              <a:rPr lang="en-GB" sz="1467" b="1"/>
              <a:t>Network Ninja: </a:t>
            </a:r>
            <a:r>
              <a:rPr lang="en-GB" sz="1467"/>
              <a:t>the most cost-effective but will come with the least features</a:t>
            </a:r>
          </a:p>
        </p:txBody>
      </p:sp>
    </p:spTree>
    <p:extLst>
      <p:ext uri="{BB962C8B-B14F-4D97-AF65-F5344CB8AC3E}">
        <p14:creationId xmlns:p14="http://schemas.microsoft.com/office/powerpoint/2010/main" val="191105931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069ADA-A0F5-578F-E113-458DEE5A70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NEXT STEP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5B6E15-EEF7-B133-1654-73D5FF590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9100" y="1409701"/>
            <a:ext cx="11354100" cy="4381500"/>
          </a:xfrm>
        </p:spPr>
        <p:txBody>
          <a:bodyPr vert="horz" lIns="0" tIns="0" rIns="0" bIns="0" rtlCol="0" anchor="t">
            <a:normAutofit/>
          </a:bodyPr>
          <a:lstStyle/>
          <a:p>
            <a:pPr marL="127000" indent="0">
              <a:buNone/>
            </a:pPr>
            <a:r>
              <a:rPr lang="en-GB" b="1">
                <a:latin typeface="+mj-lt"/>
                <a:cs typeface="Arial"/>
              </a:rPr>
              <a:t>Technology</a:t>
            </a:r>
          </a:p>
          <a:p>
            <a:r>
              <a:rPr lang="en-GB">
                <a:latin typeface="+mj-lt"/>
                <a:cs typeface="Arial"/>
              </a:rPr>
              <a:t>Develop an Activations Application</a:t>
            </a:r>
          </a:p>
          <a:p>
            <a:r>
              <a:rPr lang="en-GB">
                <a:latin typeface="+mj-lt"/>
                <a:cs typeface="Arial"/>
              </a:rPr>
              <a:t>Design the </a:t>
            </a:r>
            <a:r>
              <a:rPr lang="en-GB" sz="1600">
                <a:solidFill>
                  <a:srgbClr val="374151"/>
                </a:solidFill>
                <a:latin typeface="+mj-lt"/>
                <a:cs typeface="Arial"/>
              </a:rPr>
              <a:t>Experiential Atomic Data Model a</a:t>
            </a:r>
            <a:r>
              <a:rPr lang="en-GB">
                <a:latin typeface="+mj-lt"/>
                <a:cs typeface="Arial"/>
              </a:rPr>
              <a:t>rchitecture</a:t>
            </a:r>
          </a:p>
          <a:p>
            <a:r>
              <a:rPr lang="en-GB">
                <a:latin typeface="+mj-lt"/>
                <a:cs typeface="Arial"/>
              </a:rPr>
              <a:t>Deploy Brand </a:t>
            </a:r>
            <a:r>
              <a:rPr lang="en-GB" sz="1600" err="1">
                <a:effectLst/>
                <a:latin typeface="Arial"/>
                <a:cs typeface="Arial"/>
              </a:rPr>
              <a:t>Brandscopic</a:t>
            </a:r>
            <a:r>
              <a:rPr lang="en-GB">
                <a:latin typeface="+mj-lt"/>
                <a:cs typeface="Arial"/>
              </a:rPr>
              <a:t> for Verizon </a:t>
            </a:r>
            <a:br>
              <a:rPr lang="en-GB">
                <a:latin typeface="+mj-lt"/>
              </a:rPr>
            </a:br>
            <a:endParaRPr lang="en-GB">
              <a:latin typeface="+mj-lt"/>
            </a:endParaRPr>
          </a:p>
          <a:p>
            <a:pPr marL="127000" indent="0">
              <a:buNone/>
            </a:pPr>
            <a:r>
              <a:rPr lang="en-GB" b="1">
                <a:highlight>
                  <a:srgbClr val="FFFF00"/>
                </a:highlight>
                <a:latin typeface="+mj-lt"/>
                <a:cs typeface="Arial"/>
              </a:rPr>
              <a:t>What we asked of Bethany</a:t>
            </a:r>
          </a:p>
          <a:p>
            <a:r>
              <a:rPr lang="en-GB">
                <a:latin typeface="+mj-lt"/>
                <a:cs typeface="Arial"/>
              </a:rPr>
              <a:t>Audit of each client account, what each account is measuring and in what format.</a:t>
            </a:r>
          </a:p>
          <a:p>
            <a:r>
              <a:rPr lang="en-GB">
                <a:latin typeface="+mj-lt"/>
                <a:cs typeface="Arial"/>
              </a:rPr>
              <a:t>Analysis of why event information is hard to obtain and keep accurate.</a:t>
            </a:r>
          </a:p>
          <a:p>
            <a:r>
              <a:rPr lang="en-GB">
                <a:latin typeface="+mj-lt"/>
                <a:cs typeface="Arial"/>
              </a:rPr>
              <a:t>Plan course correction and identification of information owners.</a:t>
            </a:r>
            <a:endParaRPr lang="en-GB" sz="2000">
              <a:latin typeface="+mj-lt"/>
              <a:cs typeface="Arial"/>
            </a:endParaRPr>
          </a:p>
          <a:p>
            <a:pPr marL="127000" indent="0">
              <a:buNone/>
            </a:pPr>
            <a:endParaRPr lang="en-GB" sz="2000">
              <a:latin typeface="+mj-lt"/>
            </a:endParaRPr>
          </a:p>
          <a:p>
            <a:pPr marL="127000" indent="0">
              <a:buNone/>
            </a:pPr>
            <a:endParaRPr lang="en-GB" sz="2000">
              <a:latin typeface="+mj-lt"/>
            </a:endParaRPr>
          </a:p>
          <a:p>
            <a:endParaRPr lang="en-GB" sz="2000">
              <a:latin typeface="+mj-lt"/>
            </a:endParaRPr>
          </a:p>
          <a:p>
            <a:endParaRPr lang="en-GB" sz="2000">
              <a:latin typeface="+mj-lt"/>
            </a:endParaRPr>
          </a:p>
          <a:p>
            <a:endParaRPr lang="en-GB" sz="2000">
              <a:latin typeface="+mj-l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830904-F78F-3790-F054-6C1C4743AEA3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9255910" y="137659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>
              <a:defRPr lang="en-US"/>
            </a:defPPr>
            <a:lvl1pPr marL="0" marR="0" lv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fld id="{00000000-1234-1234-1234-123412341234}" type="slidenum">
              <a:rPr lang="en" smtClean="0"/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t>17</a:t>
            </a:fld>
            <a:endParaRPr kumimoji="0" lang="en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09723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B573FE-7E1F-9C32-FF7F-AE5D129FF9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latin typeface="Arial Black"/>
              </a:rPr>
              <a:t>NEXT STEPS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BCFAAF-451A-8212-85A3-1F95DCE913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18</a:t>
            </a:fld>
            <a:endParaRPr lang="en-US"/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DEC304C8-54CB-C96D-0602-46541641EA1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33301783"/>
              </p:ext>
            </p:extLst>
          </p:nvPr>
        </p:nvGraphicFramePr>
        <p:xfrm>
          <a:off x="658812" y="507093"/>
          <a:ext cx="10874375" cy="5138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16184436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557EEF6-07E1-F7EA-3779-6A6EDEECCB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839" y="381307"/>
            <a:ext cx="11353800" cy="5859916"/>
          </a:xfrm>
        </p:spPr>
        <p:txBody>
          <a:bodyPr/>
          <a:lstStyle/>
          <a:p>
            <a:r>
              <a:rPr lang="en-GB">
                <a:latin typeface="Arial Black"/>
              </a:rPr>
              <a:t>THANK YOU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1C845B-4AD0-6BF3-7663-7F7C3ECC82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97034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A299484-F896-13C7-8E53-061A94D56C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AGENDA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88C40F7-A575-520C-FB3C-760583FEEF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9100" y="1238250"/>
            <a:ext cx="11353800" cy="4381499"/>
          </a:xfrm>
        </p:spPr>
        <p:txBody>
          <a:bodyPr vert="horz" lIns="0" tIns="0" rIns="0" bIns="0" rtlCol="0" anchor="t">
            <a:norm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GB" sz="2400">
                <a:latin typeface="Arial"/>
                <a:cs typeface="Arial"/>
              </a:rPr>
              <a:t>Our Goals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2400">
                <a:latin typeface="Arial"/>
                <a:cs typeface="Arial"/>
              </a:rPr>
              <a:t>Deliverables</a:t>
            </a:r>
          </a:p>
          <a:p>
            <a:pPr marL="342900" indent="-342900">
              <a:buAutoNum type="arabicPeriod"/>
            </a:pPr>
            <a:r>
              <a:rPr lang="en-GB" sz="2400">
                <a:latin typeface="Arial"/>
                <a:cs typeface="Arial"/>
              </a:rPr>
              <a:t>Data Ecosystems</a:t>
            </a:r>
          </a:p>
          <a:p>
            <a:pPr marL="342900" indent="-342900">
              <a:buAutoNum type="arabicPeriod"/>
            </a:pPr>
            <a:r>
              <a:rPr lang="en-GB" sz="2400">
                <a:latin typeface="Arial"/>
                <a:cs typeface="Arial"/>
              </a:rPr>
              <a:t>Field Marketing Analysis</a:t>
            </a:r>
          </a:p>
          <a:p>
            <a:pPr marL="342900" indent="-342900">
              <a:buAutoNum type="arabicPeriod"/>
            </a:pPr>
            <a:r>
              <a:rPr lang="en-GB" sz="2400">
                <a:latin typeface="Arial"/>
                <a:cs typeface="Arial"/>
              </a:rPr>
              <a:t>Now + Next</a:t>
            </a:r>
            <a:endParaRPr lang="en-GB" sz="2400"/>
          </a:p>
          <a:p>
            <a:pPr marL="342900" indent="-342900">
              <a:buFont typeface="+mj-lt"/>
              <a:buAutoNum type="arabicPeriod"/>
            </a:pPr>
            <a:endParaRPr lang="en-GB" sz="2400"/>
          </a:p>
          <a:p>
            <a:pPr marL="342900" indent="-342900">
              <a:buFont typeface="Arial" panose="020B0604020202020204"/>
              <a:buAutoNum type="arabicPeriod"/>
            </a:pPr>
            <a:endParaRPr lang="en-GB" sz="2400"/>
          </a:p>
          <a:p>
            <a:pPr marL="0" indent="0">
              <a:buNone/>
            </a:pPr>
            <a:endParaRPr lang="en-GB" sz="2400"/>
          </a:p>
          <a:p>
            <a:pPr marL="342900" indent="-342900">
              <a:buFont typeface="Arial" panose="020B0604020202020204"/>
              <a:buAutoNum type="arabicPeriod"/>
            </a:pPr>
            <a:endParaRPr lang="en-GB" sz="2400"/>
          </a:p>
          <a:p>
            <a:pPr marL="0" indent="0">
              <a:buNone/>
            </a:pPr>
            <a:endParaRPr lang="en-GB" sz="2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F0E519-30DC-19F4-1FC3-958475A13D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730037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557EEF6-07E1-F7EA-3779-6A6EDEECCB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839" y="381307"/>
            <a:ext cx="11353800" cy="5859916"/>
          </a:xfrm>
        </p:spPr>
        <p:txBody>
          <a:bodyPr/>
          <a:lstStyle/>
          <a:p>
            <a:r>
              <a:rPr lang="en-GB">
                <a:latin typeface="Arial Black"/>
              </a:rPr>
              <a:t>APPENDIX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1C845B-4AD0-6BF3-7663-7F7C3ECC82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424762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ECB9FEB-A89B-A9CF-5B1F-2C951EE797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latin typeface="Arial Black"/>
              </a:rPr>
              <a:t>NEAR TERM VS LONG TERM </a:t>
            </a:r>
            <a:br>
              <a:rPr lang="en-GB">
                <a:latin typeface="Arial Black"/>
              </a:rPr>
            </a:br>
            <a:r>
              <a:rPr lang="en-GB">
                <a:latin typeface="Arial Black"/>
              </a:rPr>
              <a:t>FIELD MARKETING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609C3E-E928-D4E1-969E-B6D53AE327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315884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D9B23C6-5D22-DE02-1E99-96574D7667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VERIZON X MOMO ORGANIZATIONAL DATA SYSTEM​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7E9ED5D-D876-F3C6-8956-7AA127D295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9100" y="1238250"/>
            <a:ext cx="11353800" cy="4381499"/>
          </a:xfrm>
        </p:spPr>
        <p:txBody>
          <a:bodyPr wrap="none" numCol="2" spcCol="360000">
            <a:noAutofit/>
          </a:bodyPr>
          <a:lstStyle/>
          <a:p>
            <a:pPr marL="0" lvl="1" indent="0">
              <a:spcBef>
                <a:spcPts val="1333"/>
              </a:spcBef>
              <a:buSzPts val="1200"/>
              <a:buNone/>
            </a:pPr>
            <a:r>
              <a:rPr lang="en-GB" b="1">
                <a:solidFill>
                  <a:schemeClr val="dk1"/>
                </a:solidFill>
              </a:rPr>
              <a:t>Verizon Experiential Intelligence Dashboard:</a:t>
            </a:r>
          </a:p>
          <a:p>
            <a:pPr marL="565160" lvl="1" indent="-285750">
              <a:lnSpc>
                <a:spcPct val="100000"/>
              </a:lnSpc>
              <a:buSzPts val="1200"/>
            </a:pPr>
            <a:r>
              <a:rPr lang="en-GB">
                <a:solidFill>
                  <a:schemeClr val="dk1"/>
                </a:solidFill>
              </a:rPr>
              <a:t>Measurement of all </a:t>
            </a:r>
            <a:r>
              <a:rPr lang="en-GB" b="1">
                <a:solidFill>
                  <a:schemeClr val="dk1"/>
                </a:solidFill>
              </a:rPr>
              <a:t>Verizon</a:t>
            </a:r>
            <a:r>
              <a:rPr lang="en-GB">
                <a:solidFill>
                  <a:schemeClr val="dk1"/>
                </a:solidFill>
              </a:rPr>
              <a:t> experiences </a:t>
            </a:r>
          </a:p>
          <a:p>
            <a:pPr marL="565160" lvl="1" indent="-285750">
              <a:buSzPts val="1200"/>
            </a:pPr>
            <a:r>
              <a:rPr lang="en-GB">
                <a:solidFill>
                  <a:schemeClr val="dk1"/>
                </a:solidFill>
              </a:rPr>
              <a:t>Automated processes and data ingestion</a:t>
            </a:r>
          </a:p>
          <a:p>
            <a:pPr marL="565160" lvl="1" indent="-285750">
              <a:buSzPts val="1200"/>
            </a:pPr>
            <a:r>
              <a:rPr lang="en-GB">
                <a:solidFill>
                  <a:schemeClr val="dk1"/>
                </a:solidFill>
              </a:rPr>
              <a:t>Real-time Dashboard/Data accessible by non-analytic business users </a:t>
            </a:r>
          </a:p>
          <a:p>
            <a:pPr marL="0" indent="0">
              <a:spcBef>
                <a:spcPts val="1333"/>
              </a:spcBef>
              <a:buSzPts val="1200"/>
              <a:buNone/>
            </a:pPr>
            <a:endParaRPr lang="en-GB" sz="1400" b="1">
              <a:solidFill>
                <a:schemeClr val="dk1"/>
              </a:solidFill>
            </a:endParaRPr>
          </a:p>
          <a:p>
            <a:pPr marL="0" indent="0">
              <a:spcBef>
                <a:spcPts val="1333"/>
              </a:spcBef>
              <a:buSzPts val="1200"/>
              <a:buNone/>
            </a:pPr>
            <a:endParaRPr lang="en-GB" sz="1400" b="1">
              <a:solidFill>
                <a:schemeClr val="dk1"/>
              </a:solidFill>
            </a:endParaRPr>
          </a:p>
          <a:p>
            <a:pPr marL="0" indent="0">
              <a:spcBef>
                <a:spcPts val="1333"/>
              </a:spcBef>
              <a:buSzPts val="1200"/>
              <a:buNone/>
            </a:pPr>
            <a:endParaRPr lang="en-GB" sz="1400" b="1">
              <a:solidFill>
                <a:schemeClr val="dk1"/>
              </a:solidFill>
            </a:endParaRPr>
          </a:p>
          <a:p>
            <a:pPr marL="0" indent="0">
              <a:spcBef>
                <a:spcPts val="1333"/>
              </a:spcBef>
              <a:buSzPts val="1200"/>
              <a:buNone/>
            </a:pPr>
            <a:endParaRPr lang="en-GB" sz="1400" b="1">
              <a:solidFill>
                <a:schemeClr val="dk1"/>
              </a:solidFill>
            </a:endParaRPr>
          </a:p>
          <a:p>
            <a:pPr marL="0" indent="0">
              <a:spcBef>
                <a:spcPts val="1333"/>
              </a:spcBef>
              <a:buSzPts val="1200"/>
              <a:buNone/>
            </a:pPr>
            <a:r>
              <a:rPr lang="en-GB" sz="1400" b="1">
                <a:solidFill>
                  <a:schemeClr val="dk1"/>
                </a:solidFill>
              </a:rPr>
              <a:t>Portfolio-wide system:</a:t>
            </a:r>
          </a:p>
          <a:p>
            <a:pPr marL="565160" lvl="1" indent="-285750">
              <a:lnSpc>
                <a:spcPct val="100000"/>
              </a:lnSpc>
              <a:buSzPts val="1200"/>
            </a:pPr>
            <a:r>
              <a:rPr lang="en-GB">
                <a:solidFill>
                  <a:schemeClr val="dk1"/>
                </a:solidFill>
              </a:rPr>
              <a:t>Booking and planning “events.”</a:t>
            </a:r>
          </a:p>
          <a:p>
            <a:pPr marL="565160" lvl="1" indent="-285750">
              <a:lnSpc>
                <a:spcPct val="100000"/>
              </a:lnSpc>
              <a:buSzPts val="1200"/>
            </a:pPr>
            <a:r>
              <a:rPr lang="en-GB">
                <a:solidFill>
                  <a:schemeClr val="dk1"/>
                </a:solidFill>
              </a:rPr>
              <a:t>Managing Event Details, Changes, Updates, and Assets/Items required for events</a:t>
            </a:r>
          </a:p>
          <a:p>
            <a:pPr marL="565160" lvl="1" indent="-285750">
              <a:lnSpc>
                <a:spcPct val="100000"/>
              </a:lnSpc>
              <a:buSzPts val="1200"/>
            </a:pPr>
            <a:r>
              <a:rPr lang="en-GB">
                <a:solidFill>
                  <a:schemeClr val="dk1"/>
                </a:solidFill>
              </a:rPr>
              <a:t>Collecting on-site information through a cloud platform/web-based tool</a:t>
            </a:r>
          </a:p>
          <a:p>
            <a:pPr marL="565160" lvl="1" indent="-285750">
              <a:lnSpc>
                <a:spcPct val="100000"/>
              </a:lnSpc>
              <a:buSzPts val="1200"/>
            </a:pPr>
            <a:r>
              <a:rPr lang="en-GB">
                <a:solidFill>
                  <a:schemeClr val="dk1"/>
                </a:solidFill>
              </a:rPr>
              <a:t>Updatable by anyone with access from anywhere with built-in version control</a:t>
            </a:r>
          </a:p>
          <a:p>
            <a:pPr marL="565160" lvl="1" indent="-285750">
              <a:lnSpc>
                <a:spcPct val="100000"/>
              </a:lnSpc>
              <a:buSzPts val="1200"/>
            </a:pPr>
            <a:r>
              <a:rPr lang="en-GB">
                <a:solidFill>
                  <a:schemeClr val="dk1"/>
                </a:solidFill>
              </a:rPr>
              <a:t>Mitigate: 10 different data sources with the same and possibly conflicting manually collected information</a:t>
            </a:r>
          </a:p>
        </p:txBody>
      </p:sp>
    </p:spTree>
    <p:extLst>
      <p:ext uri="{BB962C8B-B14F-4D97-AF65-F5344CB8AC3E}">
        <p14:creationId xmlns:p14="http://schemas.microsoft.com/office/powerpoint/2010/main" val="237614582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4B7321-D9EF-96A9-B56B-1A643689C4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/>
              <a:t>UNIFIED DATA + FIELD MANAGEMENT</a:t>
            </a:r>
            <a:br>
              <a:rPr lang="en"/>
            </a:br>
            <a:r>
              <a:rPr lang="en" sz="1400"/>
              <a:t>What we need to get there (Components)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2D347F-E1FF-99C5-FBC2-D954EFB7D5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9100" y="1409700"/>
            <a:ext cx="11353800" cy="4381499"/>
          </a:xfrm>
        </p:spPr>
        <p:txBody>
          <a:bodyPr vert="horz" lIns="0" tIns="0" rIns="0" bIns="0" numCol="2" rtlCol="0" anchor="t">
            <a:noAutofit/>
          </a:bodyPr>
          <a:lstStyle/>
          <a:p>
            <a:pPr marL="194310" indent="0">
              <a:lnSpc>
                <a:spcPct val="90000"/>
              </a:lnSpc>
              <a:buClr>
                <a:schemeClr val="dk1"/>
              </a:buClr>
              <a:buSzPts val="1300"/>
              <a:buNone/>
            </a:pPr>
            <a:r>
              <a:rPr lang="en-GB" sz="1200" b="1">
                <a:solidFill>
                  <a:schemeClr val="dk1"/>
                </a:solidFill>
                <a:latin typeface="Arial"/>
                <a:cs typeface="Arial"/>
              </a:rPr>
              <a:t>Momentum owned and developed Cloud Database for storage and sandbox (VZDB1 Azure DB)</a:t>
            </a:r>
          </a:p>
          <a:p>
            <a:pPr marL="194310" indent="0">
              <a:lnSpc>
                <a:spcPct val="90000"/>
              </a:lnSpc>
              <a:buClr>
                <a:schemeClr val="dk1"/>
              </a:buClr>
              <a:buSzPts val="1300"/>
              <a:buNone/>
            </a:pPr>
            <a:r>
              <a:rPr lang="en-GB" sz="1200">
                <a:solidFill>
                  <a:schemeClr val="dk1"/>
                </a:solidFill>
                <a:latin typeface="Arial"/>
                <a:cs typeface="Arial"/>
              </a:rPr>
              <a:t>Direct Data Pipeline development with ALL VZ Experiential </a:t>
            </a:r>
            <a:r>
              <a:rPr lang="en-GB" sz="1200" err="1">
                <a:solidFill>
                  <a:schemeClr val="dk1"/>
                </a:solidFill>
                <a:latin typeface="Arial"/>
                <a:cs typeface="Arial"/>
              </a:rPr>
              <a:t>Datasources</a:t>
            </a:r>
            <a:r>
              <a:rPr lang="en-GB" sz="1200">
                <a:solidFill>
                  <a:schemeClr val="dk1"/>
                </a:solidFill>
                <a:latin typeface="Arial"/>
                <a:cs typeface="Arial"/>
              </a:rPr>
              <a:t>:</a:t>
            </a:r>
          </a:p>
          <a:p>
            <a:pPr marL="975360" lvl="1" indent="-171450">
              <a:buClr>
                <a:schemeClr val="dk1"/>
              </a:buClr>
              <a:buSzPts val="1300"/>
            </a:pPr>
            <a:r>
              <a:rPr lang="en-GB" sz="1200">
                <a:solidFill>
                  <a:schemeClr val="dk1"/>
                </a:solidFill>
                <a:latin typeface="Arial"/>
                <a:cs typeface="Arial"/>
              </a:rPr>
              <a:t>Master Calendar/Schedule of Events and Event Details</a:t>
            </a:r>
          </a:p>
          <a:p>
            <a:pPr marL="975360" lvl="1" indent="-171450">
              <a:buClr>
                <a:schemeClr val="dk1"/>
              </a:buClr>
              <a:buSzPts val="1300"/>
            </a:pPr>
            <a:r>
              <a:rPr lang="en-GB" sz="1200">
                <a:solidFill>
                  <a:schemeClr val="dk1"/>
                </a:solidFill>
                <a:latin typeface="Arial"/>
                <a:cs typeface="Arial"/>
              </a:rPr>
              <a:t>Common Backend</a:t>
            </a:r>
          </a:p>
          <a:p>
            <a:pPr marL="975360" lvl="1" indent="-171450">
              <a:buClr>
                <a:schemeClr val="dk1"/>
              </a:buClr>
              <a:buSzPts val="1300"/>
            </a:pPr>
            <a:r>
              <a:rPr lang="en-GB" sz="1200">
                <a:solidFill>
                  <a:schemeClr val="dk1"/>
                </a:solidFill>
                <a:latin typeface="Arial"/>
                <a:cs typeface="Arial"/>
              </a:rPr>
              <a:t>QR Tiger</a:t>
            </a:r>
          </a:p>
          <a:p>
            <a:pPr marL="975360" lvl="1" indent="-171450">
              <a:buClr>
                <a:schemeClr val="dk1"/>
              </a:buClr>
              <a:buSzPts val="1300"/>
            </a:pPr>
            <a:r>
              <a:rPr lang="en-GB" sz="1200">
                <a:solidFill>
                  <a:schemeClr val="dk1"/>
                </a:solidFill>
                <a:latin typeface="Arial"/>
                <a:cs typeface="Arial"/>
              </a:rPr>
              <a:t>Qualtrics (Survey)</a:t>
            </a:r>
          </a:p>
          <a:p>
            <a:pPr marL="975360" lvl="1" indent="-171450">
              <a:buClr>
                <a:schemeClr val="dk1"/>
              </a:buClr>
              <a:buSzPts val="1300"/>
            </a:pPr>
            <a:r>
              <a:rPr lang="en-GB" sz="1200">
                <a:solidFill>
                  <a:schemeClr val="dk1"/>
                </a:solidFill>
                <a:latin typeface="Arial"/>
                <a:cs typeface="Arial"/>
              </a:rPr>
              <a:t>Verizon Adobe Analytics Files</a:t>
            </a:r>
          </a:p>
          <a:p>
            <a:pPr marL="975360" lvl="1" indent="-171450">
              <a:buClr>
                <a:schemeClr val="dk1"/>
              </a:buClr>
              <a:buSzPts val="1300"/>
            </a:pPr>
            <a:r>
              <a:rPr lang="en-GB" sz="1200">
                <a:solidFill>
                  <a:schemeClr val="dk1"/>
                </a:solidFill>
                <a:latin typeface="Arial"/>
                <a:cs typeface="Arial"/>
              </a:rPr>
              <a:t>BA/BL/FM Collected manual on-site information</a:t>
            </a:r>
          </a:p>
          <a:p>
            <a:pPr marL="365760" indent="-171450">
              <a:buClr>
                <a:schemeClr val="dk1"/>
              </a:buClr>
              <a:buSzPts val="1300"/>
            </a:pPr>
            <a:r>
              <a:rPr lang="en-GB" sz="1200">
                <a:solidFill>
                  <a:schemeClr val="dk1"/>
                </a:solidFill>
                <a:latin typeface="Arial"/>
                <a:cs typeface="Arial"/>
              </a:rPr>
              <a:t>SOP/System of Processes and cadence for Data Governance, Auditing, and regular maintenance and QA</a:t>
            </a:r>
          </a:p>
          <a:p>
            <a:pPr marL="975360" lvl="1" indent="-171450">
              <a:buClr>
                <a:schemeClr val="dk1"/>
              </a:buClr>
              <a:buSzPts val="1300"/>
            </a:pPr>
            <a:r>
              <a:rPr lang="en-GB" sz="1200">
                <a:solidFill>
                  <a:schemeClr val="dk1"/>
                </a:solidFill>
                <a:latin typeface="Arial"/>
                <a:cs typeface="Arial"/>
              </a:rPr>
              <a:t>Schedule for </a:t>
            </a:r>
            <a:r>
              <a:rPr lang="en-GB" sz="1200" err="1">
                <a:solidFill>
                  <a:schemeClr val="dk1"/>
                </a:solidFill>
                <a:latin typeface="Arial"/>
                <a:cs typeface="Arial"/>
              </a:rPr>
              <a:t>datasource</a:t>
            </a:r>
            <a:r>
              <a:rPr lang="en-GB" sz="1200">
                <a:solidFill>
                  <a:schemeClr val="dk1"/>
                </a:solidFill>
                <a:latin typeface="Arial"/>
                <a:cs typeface="Arial"/>
              </a:rPr>
              <a:t> updates</a:t>
            </a:r>
            <a:endParaRPr lang="en-GB" sz="1000">
              <a:solidFill>
                <a:schemeClr val="dk1"/>
              </a:solidFill>
              <a:latin typeface="Arial"/>
              <a:cs typeface="Arial"/>
            </a:endParaRPr>
          </a:p>
          <a:p>
            <a:pPr marL="186055" indent="0">
              <a:lnSpc>
                <a:spcPct val="90000"/>
              </a:lnSpc>
              <a:spcBef>
                <a:spcPts val="1333"/>
              </a:spcBef>
              <a:buClr>
                <a:schemeClr val="dk1"/>
              </a:buClr>
              <a:buSzPts val="1400"/>
              <a:buNone/>
            </a:pPr>
            <a:endParaRPr lang="en-GB" sz="1200" b="1">
              <a:solidFill>
                <a:schemeClr val="dk1"/>
              </a:solidFill>
              <a:latin typeface="Arial"/>
              <a:cs typeface="Arial"/>
            </a:endParaRPr>
          </a:p>
          <a:p>
            <a:pPr marL="186055" indent="0">
              <a:lnSpc>
                <a:spcPct val="90000"/>
              </a:lnSpc>
              <a:spcBef>
                <a:spcPts val="1333"/>
              </a:spcBef>
              <a:buClr>
                <a:schemeClr val="dk1"/>
              </a:buClr>
              <a:buSzPts val="1400"/>
              <a:buNone/>
            </a:pPr>
            <a:r>
              <a:rPr lang="en-GB" sz="1200" b="1">
                <a:solidFill>
                  <a:schemeClr val="dk1"/>
                </a:solidFill>
                <a:latin typeface="Arial"/>
                <a:cs typeface="Arial"/>
              </a:rPr>
              <a:t>Event Management Platform/Front End Tool for collecting manual information</a:t>
            </a:r>
          </a:p>
          <a:p>
            <a:pPr marL="967105" lvl="1" indent="-171450">
              <a:lnSpc>
                <a:spcPct val="100000"/>
              </a:lnSpc>
              <a:buClr>
                <a:schemeClr val="dk1"/>
              </a:buClr>
              <a:buSzPts val="1400"/>
            </a:pPr>
            <a:r>
              <a:rPr lang="en-GB" sz="1200">
                <a:solidFill>
                  <a:schemeClr val="dk1"/>
                </a:solidFill>
                <a:latin typeface="Arial"/>
                <a:cs typeface="Arial"/>
              </a:rPr>
              <a:t>Accessible via mobile</a:t>
            </a:r>
          </a:p>
          <a:p>
            <a:pPr marL="967105" lvl="1" indent="-171450">
              <a:lnSpc>
                <a:spcPct val="100000"/>
              </a:lnSpc>
              <a:buClr>
                <a:schemeClr val="dk1"/>
              </a:buClr>
              <a:buSzPts val="1400"/>
            </a:pPr>
            <a:r>
              <a:rPr lang="en-GB" sz="1200">
                <a:solidFill>
                  <a:schemeClr val="dk1"/>
                </a:solidFill>
                <a:latin typeface="Arial"/>
                <a:cs typeface="Arial"/>
              </a:rPr>
              <a:t>Momentum controlled users and permissions</a:t>
            </a:r>
          </a:p>
          <a:p>
            <a:pPr marL="967105" lvl="1" indent="-171450">
              <a:lnSpc>
                <a:spcPct val="100000"/>
              </a:lnSpc>
              <a:buClr>
                <a:schemeClr val="dk1"/>
              </a:buClr>
              <a:buSzPts val="1400"/>
            </a:pPr>
            <a:r>
              <a:rPr lang="en-GB" sz="1200">
                <a:solidFill>
                  <a:schemeClr val="dk1"/>
                </a:solidFill>
                <a:latin typeface="Arial"/>
                <a:cs typeface="Arial"/>
              </a:rPr>
              <a:t>Customizable fields encompassing all events</a:t>
            </a:r>
          </a:p>
          <a:p>
            <a:pPr marL="967105" lvl="1" indent="-171450">
              <a:lnSpc>
                <a:spcPct val="100000"/>
              </a:lnSpc>
              <a:buClr>
                <a:schemeClr val="dk1"/>
              </a:buClr>
              <a:buSzPts val="1400"/>
            </a:pPr>
            <a:r>
              <a:rPr lang="en-GB" sz="1200">
                <a:solidFill>
                  <a:schemeClr val="dk1"/>
                </a:solidFill>
                <a:latin typeface="Arial"/>
                <a:cs typeface="Arial"/>
              </a:rPr>
              <a:t>Built in reminders and schedule for missing fields/recaps for past events</a:t>
            </a:r>
          </a:p>
          <a:p>
            <a:pPr marL="967105" lvl="1" indent="-171450">
              <a:lnSpc>
                <a:spcPct val="100000"/>
              </a:lnSpc>
              <a:buClr>
                <a:schemeClr val="dk1"/>
              </a:buClr>
              <a:buSzPts val="1400"/>
            </a:pPr>
            <a:r>
              <a:rPr lang="en-GB" sz="1200">
                <a:solidFill>
                  <a:schemeClr val="dk1"/>
                </a:solidFill>
                <a:latin typeface="Arial"/>
                <a:cs typeface="Arial"/>
              </a:rPr>
              <a:t>Calendar view</a:t>
            </a:r>
          </a:p>
          <a:p>
            <a:pPr marL="967105" lvl="1" indent="-171450">
              <a:lnSpc>
                <a:spcPct val="100000"/>
              </a:lnSpc>
              <a:buClr>
                <a:schemeClr val="dk1"/>
              </a:buClr>
              <a:buSzPts val="1400"/>
            </a:pPr>
            <a:r>
              <a:rPr lang="en-GB" sz="1200">
                <a:solidFill>
                  <a:schemeClr val="dk1"/>
                </a:solidFill>
                <a:latin typeface="Arial"/>
                <a:cs typeface="Arial"/>
              </a:rPr>
              <a:t>API data pipeline</a:t>
            </a:r>
          </a:p>
          <a:p>
            <a:pPr marL="967105" lvl="1" indent="-171450">
              <a:lnSpc>
                <a:spcPct val="100000"/>
              </a:lnSpc>
              <a:buClr>
                <a:schemeClr val="dk1"/>
              </a:buClr>
              <a:buSzPts val="1400"/>
            </a:pPr>
            <a:endParaRPr lang="en-GB" sz="1200">
              <a:solidFill>
                <a:schemeClr val="dk1"/>
              </a:solidFill>
            </a:endParaRPr>
          </a:p>
          <a:p>
            <a:pPr marL="967105" lvl="1" indent="-171450">
              <a:lnSpc>
                <a:spcPct val="100000"/>
              </a:lnSpc>
              <a:buClr>
                <a:schemeClr val="dk1"/>
              </a:buClr>
              <a:buSzPts val="1400"/>
            </a:pPr>
            <a:endParaRPr lang="en-GB" sz="1200">
              <a:solidFill>
                <a:schemeClr val="dk1"/>
              </a:solidFill>
            </a:endParaRPr>
          </a:p>
          <a:p>
            <a:pPr marL="967105" lvl="1" indent="-171450">
              <a:lnSpc>
                <a:spcPct val="100000"/>
              </a:lnSpc>
              <a:buClr>
                <a:schemeClr val="dk1"/>
              </a:buClr>
              <a:buSzPts val="1400"/>
            </a:pPr>
            <a:endParaRPr lang="en-GB" sz="1200">
              <a:solidFill>
                <a:schemeClr val="dk1"/>
              </a:solidFill>
            </a:endParaRPr>
          </a:p>
          <a:p>
            <a:pPr marL="967105" lvl="1" indent="-171450">
              <a:lnSpc>
                <a:spcPct val="100000"/>
              </a:lnSpc>
              <a:buClr>
                <a:schemeClr val="dk1"/>
              </a:buClr>
              <a:buSzPts val="1400"/>
            </a:pPr>
            <a:endParaRPr lang="en-GB" sz="1200">
              <a:solidFill>
                <a:schemeClr val="dk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A77323-EA10-D338-5035-7A67C404B5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274399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557EEF6-07E1-F7EA-3779-6A6EDEECCB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839" y="381307"/>
            <a:ext cx="11353800" cy="5859916"/>
          </a:xfrm>
        </p:spPr>
        <p:txBody>
          <a:bodyPr/>
          <a:lstStyle/>
          <a:p>
            <a:r>
              <a:rPr lang="en-GB">
                <a:latin typeface="Arial Black"/>
              </a:rPr>
              <a:t>LOOKING AHEAD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1C845B-4AD0-6BF3-7663-7F7C3ECC82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938127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8BC28F-FEA3-DA67-D67C-48B741BF5D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 Black"/>
              </a:rPr>
              <a:t>LOOKING AHEAD:</a:t>
            </a:r>
            <a:br>
              <a:rPr lang="en-US"/>
            </a:br>
            <a:r>
              <a:rPr lang="en-US">
                <a:latin typeface="Arial Black"/>
              </a:rPr>
              <a:t>Beyond Unified Data Model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719F79FB-8722-C981-2ED0-67B66065C97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73597345"/>
              </p:ext>
            </p:extLst>
          </p:nvPr>
        </p:nvGraphicFramePr>
        <p:xfrm>
          <a:off x="419100" y="1635617"/>
          <a:ext cx="11353800" cy="43079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84600">
                  <a:extLst>
                    <a:ext uri="{9D8B030D-6E8A-4147-A177-3AD203B41FA5}">
                      <a16:colId xmlns:a16="http://schemas.microsoft.com/office/drawing/2014/main" val="1880727806"/>
                    </a:ext>
                  </a:extLst>
                </a:gridCol>
                <a:gridCol w="3784600">
                  <a:extLst>
                    <a:ext uri="{9D8B030D-6E8A-4147-A177-3AD203B41FA5}">
                      <a16:colId xmlns:a16="http://schemas.microsoft.com/office/drawing/2014/main" val="604011256"/>
                    </a:ext>
                  </a:extLst>
                </a:gridCol>
                <a:gridCol w="3784600">
                  <a:extLst>
                    <a:ext uri="{9D8B030D-6E8A-4147-A177-3AD203B41FA5}">
                      <a16:colId xmlns:a16="http://schemas.microsoft.com/office/drawing/2014/main" val="2447550862"/>
                    </a:ext>
                  </a:extLst>
                </a:gridCol>
              </a:tblGrid>
              <a:tr h="695905">
                <a:tc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tx1"/>
                          </a:solidFill>
                          <a:latin typeface="Poppins"/>
                          <a:cs typeface="Poppins"/>
                        </a:rPr>
                        <a:t>PHASE 1</a:t>
                      </a:r>
                    </a:p>
                    <a:p>
                      <a:r>
                        <a:rPr lang="en-US">
                          <a:solidFill>
                            <a:schemeClr val="tx1"/>
                          </a:solidFill>
                          <a:latin typeface="Poppins"/>
                          <a:cs typeface="Poppins"/>
                        </a:rPr>
                        <a:t>Unified Event Data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tx1"/>
                          </a:solidFill>
                          <a:latin typeface="Poppins"/>
                          <a:cs typeface="Poppins"/>
                        </a:rPr>
                        <a:t>PHASE 2</a:t>
                      </a:r>
                    </a:p>
                    <a:p>
                      <a:r>
                        <a:rPr lang="en-US">
                          <a:solidFill>
                            <a:schemeClr val="tx1"/>
                          </a:solidFill>
                          <a:latin typeface="Poppins"/>
                          <a:cs typeface="Poppins"/>
                        </a:rPr>
                        <a:t>Product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tx1"/>
                          </a:solidFill>
                          <a:latin typeface="Poppins"/>
                          <a:cs typeface="Poppins"/>
                        </a:rPr>
                        <a:t>PHASE 3</a:t>
                      </a:r>
                    </a:p>
                    <a:p>
                      <a:r>
                        <a:rPr lang="en-US">
                          <a:solidFill>
                            <a:schemeClr val="tx1"/>
                          </a:solidFill>
                          <a:latin typeface="Poppins"/>
                          <a:cs typeface="Poppins"/>
                        </a:rPr>
                        <a:t>Commercial Pricing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7318324"/>
                  </a:ext>
                </a:extLst>
              </a:tr>
              <a:tr h="3612078">
                <a:tc>
                  <a:txBody>
                    <a:bodyPr/>
                    <a:lstStyle/>
                    <a:p>
                      <a:pPr marL="285750" indent="-285750"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Poppins"/>
                          <a:cs typeface="Poppins"/>
                        </a:rPr>
                        <a:t>Continued ingestion of both our current client and MOMO proprietary event data</a:t>
                      </a:r>
                    </a:p>
                    <a:p>
                      <a:pPr marL="285750" indent="-285750"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Poppins"/>
                          <a:cs typeface="Poppins"/>
                        </a:rPr>
                        <a:t>Standardized ingestion models </a:t>
                      </a:r>
                    </a:p>
                    <a:p>
                      <a:pPr marL="285750" indent="-285750"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Poppins"/>
                          <a:cs typeface="Poppins"/>
                        </a:rPr>
                        <a:t>API, 3</a:t>
                      </a:r>
                      <a:r>
                        <a:rPr lang="en-US" sz="1400" baseline="30000">
                          <a:latin typeface="Poppins"/>
                          <a:cs typeface="Poppins"/>
                        </a:rPr>
                        <a:t>rd</a:t>
                      </a:r>
                      <a:r>
                        <a:rPr lang="en-US" sz="1400">
                          <a:latin typeface="Poppins"/>
                          <a:cs typeface="Poppins"/>
                        </a:rPr>
                        <a:t> party data sources, tagging/flagging</a:t>
                      </a:r>
                    </a:p>
                    <a:p>
                      <a:pPr marL="285750" indent="-285750"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Poppins"/>
                          <a:cs typeface="Poppins"/>
                        </a:rPr>
                        <a:t>Storage</a:t>
                      </a:r>
                    </a:p>
                    <a:p>
                      <a:pPr marL="285750" indent="-285750"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Poppins"/>
                          <a:cs typeface="Poppins"/>
                        </a:rPr>
                        <a:t>Cognitive Services / queries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Poppins"/>
                          <a:cs typeface="Poppins"/>
                        </a:rPr>
                        <a:t>Ingest new client data</a:t>
                      </a:r>
                    </a:p>
                    <a:p>
                      <a:pPr marL="285750" indent="-285750"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Poppins"/>
                          <a:cs typeface="Poppins"/>
                        </a:rPr>
                        <a:t>– use of standard method as well as data transformation required</a:t>
                      </a:r>
                    </a:p>
                    <a:p>
                      <a:pPr marL="285750" indent="-285750"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Poppins"/>
                          <a:cs typeface="Poppins"/>
                        </a:rPr>
                        <a:t>Compare client data to our event data by category – outside/inside, sports, music etc. , timing, weather</a:t>
                      </a:r>
                    </a:p>
                    <a:p>
                      <a:pPr marL="285750" indent="-285750"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Poppins"/>
                          <a:cs typeface="Poppins"/>
                        </a:rPr>
                        <a:t>Generate reports – trends, benchmark comparisons, “We Know” series etc. </a:t>
                      </a:r>
                    </a:p>
                    <a:p>
                      <a:pPr marL="285750" indent="-285750"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Poppins"/>
                          <a:cs typeface="Poppins"/>
                        </a:rPr>
                        <a:t>Dashboards of client data with some benchmarks/comparison flags by category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Poppins"/>
                          <a:cs typeface="Poppins"/>
                        </a:rPr>
                        <a:t>Ingestion Pricing – one time &amp; ongoing, use of API</a:t>
                      </a:r>
                    </a:p>
                    <a:p>
                      <a:pPr marL="285750" indent="-285750"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Poppins"/>
                          <a:cs typeface="Poppins"/>
                        </a:rPr>
                        <a:t>Category inclusion Pricing for comparison (do some cost more?)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>
                          <a:latin typeface="Poppins"/>
                          <a:cs typeface="Poppins"/>
                        </a:rPr>
                        <a:t>Custom report Pricing for deeper dives into your data and the comparison to our data set</a:t>
                      </a:r>
                    </a:p>
                    <a:p>
                      <a:pPr marL="285750" indent="-285750"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Poppins"/>
                          <a:cs typeface="Poppins"/>
                        </a:rPr>
                        <a:t>Dashboard creation/access Pricing with licensing/seat access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8156387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EDEC63-1AA5-510A-98DC-1566BB24FA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6699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ED5135-1E24-1E11-0624-B0A97AB82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latin typeface="Arial Black"/>
              </a:rPr>
              <a:t>NOW + N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DCBE1F-ABF6-E5EF-46DF-8919BFD87C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26</a:t>
            </a:fld>
            <a:endParaRPr lang="en-US"/>
          </a:p>
        </p:txBody>
      </p:sp>
      <p:pic>
        <p:nvPicPr>
          <p:cNvPr id="5" name="Picture 4" descr="A diagram of a company&amp;#39;s process&#10;&#10;Description automatically generated">
            <a:extLst>
              <a:ext uri="{FF2B5EF4-FFF2-40B4-BE49-F238E27FC236}">
                <a16:creationId xmlns:a16="http://schemas.microsoft.com/office/drawing/2014/main" id="{B19C6E2A-F1FE-69E4-AA0B-1DF1848E43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2170" y="1068288"/>
            <a:ext cx="10656756" cy="5289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71807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557EEF6-07E1-F7EA-3779-6A6EDEECCB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839" y="381307"/>
            <a:ext cx="11353800" cy="5859916"/>
          </a:xfrm>
        </p:spPr>
        <p:txBody>
          <a:bodyPr/>
          <a:lstStyle/>
          <a:p>
            <a:r>
              <a:rPr lang="en-GB">
                <a:latin typeface="Arial Black"/>
              </a:rPr>
              <a:t>POWER PLATFORM </a:t>
            </a:r>
            <a:br>
              <a:rPr lang="en-GB">
                <a:latin typeface="Arial Black"/>
              </a:rPr>
            </a:br>
            <a:r>
              <a:rPr lang="en-GB">
                <a:latin typeface="Arial Black"/>
              </a:rPr>
              <a:t>PROOF OF CONCEPT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1C845B-4AD0-6BF3-7663-7F7C3ECC82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731479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0F4816B-3BD8-2F2B-6C32-0918E77635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>
                <a:latin typeface="Poppins Black" panose="00000A00000000000000" pitchFamily="2" charset="0"/>
                <a:ea typeface="+mj-ea"/>
                <a:cs typeface="Poppins Black" panose="00000A00000000000000" pitchFamily="2" charset="0"/>
              </a:rPr>
              <a:t>CAMPAIGNS &amp; EVENTS</a:t>
            </a:r>
            <a:endParaRPr lang="en-GB" b="0">
              <a:latin typeface="Poppins Black" panose="00000A00000000000000" pitchFamily="2" charset="0"/>
              <a:cs typeface="Poppins Black" panose="00000A00000000000000" pitchFamily="2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9B62BED-791E-4A24-DA8A-C3589AA182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9100" y="1633869"/>
            <a:ext cx="5365012" cy="3590261"/>
          </a:xfrm>
        </p:spPr>
        <p:txBody>
          <a:bodyPr>
            <a:normAutofit/>
          </a:bodyPr>
          <a:lstStyle/>
          <a:p>
            <a:pPr marL="342900" marR="0" lvl="0" indent="-342900" algn="l" rtl="0" fontAlgn="base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400" b="0" i="0">
                <a:solidFill>
                  <a:srgbClr val="000000"/>
                </a:solidFill>
                <a:effectLst/>
                <a:latin typeface="Poppins" panose="00000500000000000000" pitchFamily="2" charset="0"/>
                <a:cs typeface="Poppins" panose="00000500000000000000" pitchFamily="2" charset="0"/>
              </a:rPr>
              <a:t>Create, edit, delete Events</a:t>
            </a:r>
          </a:p>
          <a:p>
            <a:pPr marL="342900" marR="0" lvl="0" indent="-342900" algn="l" rtl="0" fontAlgn="base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400" b="0" i="0">
                <a:solidFill>
                  <a:srgbClr val="000000"/>
                </a:solidFill>
                <a:effectLst/>
                <a:latin typeface="Poppins" panose="00000500000000000000" pitchFamily="2" charset="0"/>
                <a:cs typeface="Poppins" panose="00000500000000000000" pitchFamily="2" charset="0"/>
              </a:rPr>
              <a:t>Display Event data</a:t>
            </a:r>
          </a:p>
          <a:p>
            <a:pPr marL="342900" marR="0" lvl="0" indent="-342900" algn="l" rtl="0" fontAlgn="base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400" b="0" i="0">
                <a:solidFill>
                  <a:srgbClr val="000000"/>
                </a:solidFill>
                <a:effectLst/>
                <a:latin typeface="Poppins" panose="00000500000000000000" pitchFamily="2" charset="0"/>
                <a:cs typeface="Poppins" panose="00000500000000000000" pitchFamily="2" charset="0"/>
              </a:rPr>
              <a:t>Create an intelligible campaign ID</a:t>
            </a:r>
          </a:p>
          <a:p>
            <a:pPr marL="342900" marR="0" lvl="0" indent="-342900" algn="l" rtl="0" fontAlgn="base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400" b="0" i="0">
                <a:solidFill>
                  <a:srgbClr val="000000"/>
                </a:solidFill>
                <a:effectLst/>
                <a:latin typeface="Poppins" panose="00000500000000000000" pitchFamily="2" charset="0"/>
                <a:cs typeface="Poppins" panose="00000500000000000000" pitchFamily="2" charset="0"/>
              </a:rPr>
              <a:t>Sorting search returns based on criteria: </a:t>
            </a:r>
            <a:br>
              <a:rPr lang="en-US" sz="1400" b="0" i="0">
                <a:solidFill>
                  <a:srgbClr val="000000"/>
                </a:solidFill>
                <a:effectLst/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lang="en-US" sz="1400" b="0" i="0">
                <a:solidFill>
                  <a:srgbClr val="000000"/>
                </a:solidFill>
                <a:effectLst/>
                <a:latin typeface="Poppins" panose="00000500000000000000" pitchFamily="2" charset="0"/>
                <a:cs typeface="Poppins" panose="00000500000000000000" pitchFamily="2" charset="0"/>
              </a:rPr>
              <a:t>ID, Name, Status, </a:t>
            </a:r>
            <a:r>
              <a:rPr lang="en-US" sz="1400" b="0" i="0" err="1">
                <a:solidFill>
                  <a:srgbClr val="000000"/>
                </a:solidFill>
                <a:effectLst/>
                <a:latin typeface="Poppins" panose="00000500000000000000" pitchFamily="2" charset="0"/>
                <a:cs typeface="Poppins" panose="00000500000000000000" pitchFamily="2" charset="0"/>
              </a:rPr>
              <a:t>etc</a:t>
            </a:r>
            <a:endParaRPr lang="en-US" sz="1400" b="0" i="0">
              <a:solidFill>
                <a:srgbClr val="000000"/>
              </a:solidFill>
              <a:effectLst/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marR="0" lvl="0" indent="-342900" algn="l" rtl="0" fontAlgn="base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400" b="0" i="0">
                <a:solidFill>
                  <a:srgbClr val="000000"/>
                </a:solidFill>
                <a:effectLst/>
                <a:latin typeface="Poppins" panose="00000500000000000000" pitchFamily="2" charset="0"/>
                <a:cs typeface="Poppins" panose="00000500000000000000" pitchFamily="2" charset="0"/>
              </a:rPr>
              <a:t>Pagination</a:t>
            </a:r>
          </a:p>
          <a:p>
            <a:pPr marL="342900" marR="0" lvl="0" indent="-342900" algn="l" rtl="0" fontAlgn="base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400" b="0" i="0">
                <a:solidFill>
                  <a:srgbClr val="000000"/>
                </a:solidFill>
                <a:effectLst/>
                <a:latin typeface="Poppins" panose="00000500000000000000" pitchFamily="2" charset="0"/>
                <a:cs typeface="Poppins" panose="00000500000000000000" pitchFamily="2" charset="0"/>
              </a:rPr>
              <a:t>Retrieve AD data for event originator/assignee</a:t>
            </a:r>
          </a:p>
          <a:p>
            <a:pPr marL="342900" marR="0" lvl="0" indent="-342900" algn="l" rtl="0" fontAlgn="base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400" b="0" i="0">
                <a:solidFill>
                  <a:srgbClr val="000000"/>
                </a:solidFill>
                <a:effectLst/>
                <a:latin typeface="Poppins" panose="00000500000000000000" pitchFamily="2" charset="0"/>
                <a:cs typeface="Poppins" panose="00000500000000000000" pitchFamily="2" charset="0"/>
              </a:rPr>
              <a:t>Display map data and standardized addres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645154-86A6-2500-5336-3B5C0A469E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28</a:t>
            </a:fld>
            <a:endParaRPr lang="en-US"/>
          </a:p>
        </p:txBody>
      </p:sp>
      <p:pic>
        <p:nvPicPr>
          <p:cNvPr id="2" name="Picture 1" descr="A screenshot of a computer&#10;&#10;Description automatically generated">
            <a:extLst>
              <a:ext uri="{FF2B5EF4-FFF2-40B4-BE49-F238E27FC236}">
                <a16:creationId xmlns:a16="http://schemas.microsoft.com/office/drawing/2014/main" id="{84F3BAF6-A528-AFFC-9DF9-A3711F9E63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65999" y="833845"/>
            <a:ext cx="5365975" cy="2854891"/>
          </a:xfrm>
          <a:prstGeom prst="rect">
            <a:avLst/>
          </a:prstGeom>
        </p:spPr>
      </p:pic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F9EA3355-BBE7-355C-9874-D9D923DFD6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65037" y="2784172"/>
            <a:ext cx="5365974" cy="285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694392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0F4816B-3BD8-2F2B-6C32-0918E77635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>
                <a:latin typeface="Poppins Black" panose="00000A00000000000000" pitchFamily="2" charset="0"/>
                <a:ea typeface="+mj-ea"/>
                <a:cs typeface="Poppins Black" panose="00000A00000000000000" pitchFamily="2" charset="0"/>
              </a:rPr>
              <a:t>CAMPAIGNS &amp; EVENTS</a:t>
            </a:r>
            <a:endParaRPr lang="en-GB" b="0">
              <a:latin typeface="Poppins Black" panose="00000A00000000000000" pitchFamily="2" charset="0"/>
              <a:cs typeface="Poppins Black" panose="00000A00000000000000" pitchFamily="2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9B62BED-791E-4A24-DA8A-C3589AA182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9100" y="1633869"/>
            <a:ext cx="5365012" cy="3590261"/>
          </a:xfrm>
        </p:spPr>
        <p:txBody>
          <a:bodyPr>
            <a:normAutofit/>
          </a:bodyPr>
          <a:lstStyle/>
          <a:p>
            <a:pPr marL="0" indent="0" algn="l" rtl="0" eaLnBrk="1" fontAlgn="t" latinLnBrk="0" hangingPunct="1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i="0" u="none" strike="noStrike" kern="1200">
                <a:solidFill>
                  <a:srgbClr val="FFFFFF"/>
                </a:solidFill>
                <a:effectLst/>
                <a:latin typeface="Poppins" panose="00000500000000000000" pitchFamily="2" charset="0"/>
              </a:rPr>
              <a:t>TURES</a:t>
            </a:r>
            <a:endParaRPr lang="en-GB" sz="1200" b="0" i="0" u="none" strike="noStrike">
              <a:effectLst/>
              <a:latin typeface="Arial" panose="020B0604020202020204" pitchFamily="34" charset="0"/>
            </a:endParaRPr>
          </a:p>
          <a:p>
            <a:pPr marL="342900" indent="-342900" fontAlgn="base">
              <a:lnSpc>
                <a:spcPct val="100000"/>
              </a:lnSpc>
            </a:pPr>
            <a:r>
              <a:rPr lang="en-US" sz="140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heme variations stored at user-level permissions</a:t>
            </a:r>
            <a:endParaRPr lang="en-GB" sz="140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 fontAlgn="base">
              <a:lnSpc>
                <a:spcPct val="100000"/>
              </a:lnSpc>
            </a:pPr>
            <a:r>
              <a:rPr lang="en-US" sz="140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his can include read/write permissions or view only permissions</a:t>
            </a:r>
            <a:endParaRPr lang="en-GB" sz="140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 fontAlgn="base">
              <a:lnSpc>
                <a:spcPct val="100000"/>
              </a:lnSpc>
            </a:pPr>
            <a:r>
              <a:rPr lang="en-US" sz="140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nfigurable by:</a:t>
            </a:r>
            <a:endParaRPr lang="en-GB" sz="140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 fontAlgn="base">
              <a:lnSpc>
                <a:spcPct val="100000"/>
              </a:lnSpc>
            </a:pPr>
            <a:r>
              <a:rPr lang="en-US" sz="140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lient</a:t>
            </a:r>
            <a:endParaRPr lang="en-GB" sz="140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 fontAlgn="base">
              <a:lnSpc>
                <a:spcPct val="100000"/>
              </a:lnSpc>
            </a:pPr>
            <a:r>
              <a:rPr lang="en-US" sz="140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User</a:t>
            </a:r>
            <a:endParaRPr lang="en-GB" sz="140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 fontAlgn="base">
              <a:lnSpc>
                <a:spcPct val="100000"/>
              </a:lnSpc>
            </a:pPr>
            <a:r>
              <a:rPr lang="en-US" sz="140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eam</a:t>
            </a:r>
            <a:endParaRPr lang="en-GB" sz="140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645154-86A6-2500-5336-3B5C0A469E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29</a:t>
            </a:fld>
            <a:endParaRPr lang="en-US"/>
          </a:p>
        </p:txBody>
      </p:sp>
      <p:pic>
        <p:nvPicPr>
          <p:cNvPr id="7" name="Picture 6" descr="A screenshot of a computer&#10;&#10;Description automatically generated">
            <a:extLst>
              <a:ext uri="{FF2B5EF4-FFF2-40B4-BE49-F238E27FC236}">
                <a16:creationId xmlns:a16="http://schemas.microsoft.com/office/drawing/2014/main" id="{A76EB1C5-BADA-97DC-FE8A-714925AFB8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95613" y="1633869"/>
            <a:ext cx="6044387" cy="3213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53476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A56CCF-7148-1129-C67E-17FC152EB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/>
              <a:t>UNIFIED SYSTEMS &amp; DATA</a:t>
            </a:r>
            <a:br>
              <a:rPr lang="en-GB"/>
            </a:b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F02D59-90B7-8226-718D-618C4335A914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9255910" y="137659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3</a:t>
            </a:fld>
            <a:endParaRPr lang="en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83097A3-AB18-13A7-36B9-3156224C4EED}"/>
              </a:ext>
            </a:extLst>
          </p:cNvPr>
          <p:cNvGrpSpPr/>
          <p:nvPr/>
        </p:nvGrpSpPr>
        <p:grpSpPr>
          <a:xfrm>
            <a:off x="7566186" y="1715940"/>
            <a:ext cx="2699169" cy="2699169"/>
            <a:chOff x="6532134" y="3255357"/>
            <a:chExt cx="1653872" cy="1653872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438607C3-944A-8189-5471-629365EDE630}"/>
                </a:ext>
              </a:extLst>
            </p:cNvPr>
            <p:cNvSpPr/>
            <p:nvPr/>
          </p:nvSpPr>
          <p:spPr>
            <a:xfrm>
              <a:off x="6532134" y="3255357"/>
              <a:ext cx="1653872" cy="1653872"/>
            </a:xfrm>
            <a:prstGeom prst="ellipse">
              <a:avLst/>
            </a:prstGeom>
            <a:solidFill>
              <a:srgbClr val="F263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21" name="Graphic 20" descr="Database outline">
              <a:extLst>
                <a:ext uri="{FF2B5EF4-FFF2-40B4-BE49-F238E27FC236}">
                  <a16:creationId xmlns:a16="http://schemas.microsoft.com/office/drawing/2014/main" id="{564671D6-3650-D802-D1A2-4BB792E496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899213" y="3646644"/>
              <a:ext cx="914804" cy="914804"/>
            </a:xfrm>
            <a:prstGeom prst="rect">
              <a:avLst/>
            </a:prstGeom>
          </p:spPr>
        </p:pic>
      </p:grpSp>
      <p:sp>
        <p:nvSpPr>
          <p:cNvPr id="2056" name="Rectangle: Rounded Corners 2055">
            <a:extLst>
              <a:ext uri="{FF2B5EF4-FFF2-40B4-BE49-F238E27FC236}">
                <a16:creationId xmlns:a16="http://schemas.microsoft.com/office/drawing/2014/main" id="{5152C26A-0DD8-1069-2F39-50B7782C5CB6}"/>
              </a:ext>
            </a:extLst>
          </p:cNvPr>
          <p:cNvSpPr/>
          <p:nvPr/>
        </p:nvSpPr>
        <p:spPr>
          <a:xfrm>
            <a:off x="2270605" y="2663299"/>
            <a:ext cx="5523745" cy="900000"/>
          </a:xfrm>
          <a:prstGeom prst="roundRect">
            <a:avLst/>
          </a:prstGeom>
          <a:solidFill>
            <a:srgbClr val="3970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>
                <a:solidFill>
                  <a:schemeClr val="accent5"/>
                </a:solidFill>
              </a:rPr>
              <a:t>PROJECT</a:t>
            </a:r>
            <a:endParaRPr lang="en-GB" sz="1800" b="1">
              <a:solidFill>
                <a:schemeClr val="accent5"/>
              </a:solidFill>
            </a:endParaRPr>
          </a:p>
        </p:txBody>
      </p:sp>
      <p:grpSp>
        <p:nvGrpSpPr>
          <p:cNvPr id="2087" name="Group 2086">
            <a:extLst>
              <a:ext uri="{FF2B5EF4-FFF2-40B4-BE49-F238E27FC236}">
                <a16:creationId xmlns:a16="http://schemas.microsoft.com/office/drawing/2014/main" id="{CC0DDD7C-02DC-975D-81D8-342FD71062EC}"/>
              </a:ext>
            </a:extLst>
          </p:cNvPr>
          <p:cNvGrpSpPr/>
          <p:nvPr/>
        </p:nvGrpSpPr>
        <p:grpSpPr>
          <a:xfrm>
            <a:off x="3533010" y="2760862"/>
            <a:ext cx="751787" cy="707009"/>
            <a:chOff x="6171420" y="2018585"/>
            <a:chExt cx="751787" cy="795759"/>
          </a:xfrm>
        </p:grpSpPr>
        <p:pic>
          <p:nvPicPr>
            <p:cNvPr id="35" name="Graphic 34" descr="Stopwatch with solid fill">
              <a:extLst>
                <a:ext uri="{FF2B5EF4-FFF2-40B4-BE49-F238E27FC236}">
                  <a16:creationId xmlns:a16="http://schemas.microsoft.com/office/drawing/2014/main" id="{58224D0A-F133-425C-1365-2DB7F2B361A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6306414" y="2018585"/>
              <a:ext cx="481799" cy="481799"/>
            </a:xfrm>
            <a:prstGeom prst="rect">
              <a:avLst/>
            </a:prstGeom>
          </p:spPr>
        </p:pic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93641CA0-BB7E-582E-CECD-C9C2DCDBA21D}"/>
                </a:ext>
              </a:extLst>
            </p:cNvPr>
            <p:cNvSpPr txBox="1"/>
            <p:nvPr/>
          </p:nvSpPr>
          <p:spPr>
            <a:xfrm>
              <a:off x="6171420" y="2552734"/>
              <a:ext cx="751787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1050" b="1">
                  <a:solidFill>
                    <a:schemeClr val="bg1"/>
                  </a:solidFill>
                </a:rPr>
                <a:t>TIME</a:t>
              </a:r>
            </a:p>
          </p:txBody>
        </p:sp>
      </p:grpSp>
      <p:grpSp>
        <p:nvGrpSpPr>
          <p:cNvPr id="2088" name="Group 2087">
            <a:extLst>
              <a:ext uri="{FF2B5EF4-FFF2-40B4-BE49-F238E27FC236}">
                <a16:creationId xmlns:a16="http://schemas.microsoft.com/office/drawing/2014/main" id="{5BB454E8-2DB2-DF30-86FB-9C0A78BFA2B0}"/>
              </a:ext>
            </a:extLst>
          </p:cNvPr>
          <p:cNvGrpSpPr/>
          <p:nvPr/>
        </p:nvGrpSpPr>
        <p:grpSpPr>
          <a:xfrm>
            <a:off x="5844133" y="2760862"/>
            <a:ext cx="751787" cy="707009"/>
            <a:chOff x="7983233" y="2018585"/>
            <a:chExt cx="751787" cy="795759"/>
          </a:xfrm>
        </p:grpSpPr>
        <p:pic>
          <p:nvPicPr>
            <p:cNvPr id="40" name="Graphic 39" descr="Dollar with solid fill">
              <a:extLst>
                <a:ext uri="{FF2B5EF4-FFF2-40B4-BE49-F238E27FC236}">
                  <a16:creationId xmlns:a16="http://schemas.microsoft.com/office/drawing/2014/main" id="{C7AAC5EE-1ABC-1AB1-E876-F191552EF78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8118226" y="2018585"/>
              <a:ext cx="481798" cy="481800"/>
            </a:xfrm>
            <a:prstGeom prst="rect">
              <a:avLst/>
            </a:prstGeom>
          </p:spPr>
        </p:pic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D5413614-85CA-F703-88DD-636671D2ECDF}"/>
                </a:ext>
              </a:extLst>
            </p:cNvPr>
            <p:cNvSpPr txBox="1"/>
            <p:nvPr/>
          </p:nvSpPr>
          <p:spPr>
            <a:xfrm>
              <a:off x="7983233" y="2552734"/>
              <a:ext cx="751787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1050" b="1">
                  <a:solidFill>
                    <a:schemeClr val="bg1"/>
                  </a:solidFill>
                </a:rPr>
                <a:t>FEES</a:t>
              </a:r>
            </a:p>
          </p:txBody>
        </p:sp>
      </p:grpSp>
      <p:grpSp>
        <p:nvGrpSpPr>
          <p:cNvPr id="2089" name="Group 2088">
            <a:extLst>
              <a:ext uri="{FF2B5EF4-FFF2-40B4-BE49-F238E27FC236}">
                <a16:creationId xmlns:a16="http://schemas.microsoft.com/office/drawing/2014/main" id="{3AEEB028-9F98-39AC-7235-58F5BBA45FFB}"/>
              </a:ext>
            </a:extLst>
          </p:cNvPr>
          <p:cNvGrpSpPr/>
          <p:nvPr/>
        </p:nvGrpSpPr>
        <p:grpSpPr>
          <a:xfrm>
            <a:off x="6631005" y="2760863"/>
            <a:ext cx="1111876" cy="679664"/>
            <a:chOff x="8724607" y="2018585"/>
            <a:chExt cx="1111876" cy="764981"/>
          </a:xfrm>
        </p:grpSpPr>
        <p:pic>
          <p:nvPicPr>
            <p:cNvPr id="45" name="Graphic 44" descr="Customer review outline">
              <a:extLst>
                <a:ext uri="{FF2B5EF4-FFF2-40B4-BE49-F238E27FC236}">
                  <a16:creationId xmlns:a16="http://schemas.microsoft.com/office/drawing/2014/main" id="{BEE34C52-B638-FB0E-0F2D-7B39402BA50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>
            <a:xfrm>
              <a:off x="9021880" y="2018585"/>
              <a:ext cx="481799" cy="519778"/>
            </a:xfrm>
            <a:prstGeom prst="rect">
              <a:avLst/>
            </a:prstGeom>
          </p:spPr>
        </p:pic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D3EE4C8F-945A-6F52-A2E7-3032F098F862}"/>
                </a:ext>
              </a:extLst>
            </p:cNvPr>
            <p:cNvSpPr txBox="1"/>
            <p:nvPr/>
          </p:nvSpPr>
          <p:spPr>
            <a:xfrm>
              <a:off x="8724607" y="2552734"/>
              <a:ext cx="1111876" cy="2308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900" b="1">
                  <a:solidFill>
                    <a:schemeClr val="bg1"/>
                  </a:solidFill>
                </a:rPr>
                <a:t>RESOURCES</a:t>
              </a:r>
            </a:p>
          </p:txBody>
        </p:sp>
      </p:grpSp>
      <p:pic>
        <p:nvPicPr>
          <p:cNvPr id="50" name="Graphic 49" descr="Group brainstorm with solid fill">
            <a:extLst>
              <a:ext uri="{FF2B5EF4-FFF2-40B4-BE49-F238E27FC236}">
                <a16:creationId xmlns:a16="http://schemas.microsoft.com/office/drawing/2014/main" id="{C01A4C1F-F676-AF1E-4BB8-7C6D3E1DE0A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2702600" y="2760862"/>
            <a:ext cx="481798" cy="428065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062003B4-276D-122B-98AB-FC43AE5EDBAB}"/>
              </a:ext>
            </a:extLst>
          </p:cNvPr>
          <p:cNvSpPr txBox="1"/>
          <p:nvPr/>
        </p:nvSpPr>
        <p:spPr>
          <a:xfrm>
            <a:off x="2567606" y="3242275"/>
            <a:ext cx="751787" cy="2255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050" b="1">
                <a:solidFill>
                  <a:schemeClr val="bg1"/>
                </a:solidFill>
              </a:rPr>
              <a:t>SCOPES</a:t>
            </a:r>
          </a:p>
        </p:txBody>
      </p:sp>
      <p:sp>
        <p:nvSpPr>
          <p:cNvPr id="2059" name="Rectangle: Rounded Corners 2058">
            <a:extLst>
              <a:ext uri="{FF2B5EF4-FFF2-40B4-BE49-F238E27FC236}">
                <a16:creationId xmlns:a16="http://schemas.microsoft.com/office/drawing/2014/main" id="{5C1A6122-05C4-7585-E535-AB8CA2D81850}"/>
              </a:ext>
            </a:extLst>
          </p:cNvPr>
          <p:cNvSpPr/>
          <p:nvPr/>
        </p:nvSpPr>
        <p:spPr>
          <a:xfrm>
            <a:off x="2258351" y="5138816"/>
            <a:ext cx="7675298" cy="571961"/>
          </a:xfrm>
          <a:prstGeom prst="round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/>
              <a:t>COGNITIVE SERVICES (AI/ML)</a:t>
            </a:r>
          </a:p>
        </p:txBody>
      </p:sp>
      <p:sp>
        <p:nvSpPr>
          <p:cNvPr id="2058" name="Rectangle: Rounded Corners 2057">
            <a:extLst>
              <a:ext uri="{FF2B5EF4-FFF2-40B4-BE49-F238E27FC236}">
                <a16:creationId xmlns:a16="http://schemas.microsoft.com/office/drawing/2014/main" id="{E951DA65-5264-217B-CC33-4AB48ED299AA}"/>
              </a:ext>
            </a:extLst>
          </p:cNvPr>
          <p:cNvSpPr/>
          <p:nvPr/>
        </p:nvSpPr>
        <p:spPr>
          <a:xfrm>
            <a:off x="2238567" y="3916897"/>
            <a:ext cx="5552216" cy="900000"/>
          </a:xfrm>
          <a:prstGeom prst="roundRect">
            <a:avLst/>
          </a:prstGeom>
          <a:solidFill>
            <a:srgbClr val="3970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/>
              <a:t>CONTENT</a:t>
            </a:r>
            <a:endParaRPr lang="en-GB" sz="1600" b="1"/>
          </a:p>
        </p:txBody>
      </p:sp>
      <p:grpSp>
        <p:nvGrpSpPr>
          <p:cNvPr id="2068" name="Group 2067">
            <a:extLst>
              <a:ext uri="{FF2B5EF4-FFF2-40B4-BE49-F238E27FC236}">
                <a16:creationId xmlns:a16="http://schemas.microsoft.com/office/drawing/2014/main" id="{F5827982-C85F-7E9D-256E-2AEB23F588F2}"/>
              </a:ext>
            </a:extLst>
          </p:cNvPr>
          <p:cNvGrpSpPr/>
          <p:nvPr/>
        </p:nvGrpSpPr>
        <p:grpSpPr>
          <a:xfrm>
            <a:off x="3456474" y="4079588"/>
            <a:ext cx="818217" cy="581056"/>
            <a:chOff x="7772923" y="1587254"/>
            <a:chExt cx="1409378" cy="1044193"/>
          </a:xfrm>
        </p:grpSpPr>
        <p:pic>
          <p:nvPicPr>
            <p:cNvPr id="2069" name="Graphic 2068" descr="Syncing cloud with solid fill">
              <a:extLst>
                <a:ext uri="{FF2B5EF4-FFF2-40B4-BE49-F238E27FC236}">
                  <a16:creationId xmlns:a16="http://schemas.microsoft.com/office/drawing/2014/main" id="{9B6191BB-D494-E496-E969-8CE6EB17335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/>
            <a:stretch/>
          </p:blipFill>
          <p:spPr>
            <a:xfrm>
              <a:off x="8159607" y="1587254"/>
              <a:ext cx="610714" cy="566089"/>
            </a:xfrm>
            <a:prstGeom prst="rect">
              <a:avLst/>
            </a:prstGeom>
          </p:spPr>
        </p:pic>
        <p:sp>
          <p:nvSpPr>
            <p:cNvPr id="2070" name="TextBox 2069">
              <a:extLst>
                <a:ext uri="{FF2B5EF4-FFF2-40B4-BE49-F238E27FC236}">
                  <a16:creationId xmlns:a16="http://schemas.microsoft.com/office/drawing/2014/main" id="{4097E3C6-539D-112B-6C46-1EFBA80A549B}"/>
                </a:ext>
              </a:extLst>
            </p:cNvPr>
            <p:cNvSpPr txBox="1"/>
            <p:nvPr/>
          </p:nvSpPr>
          <p:spPr>
            <a:xfrm>
              <a:off x="7772923" y="2213751"/>
              <a:ext cx="1409378" cy="41769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1100" b="1">
                  <a:solidFill>
                    <a:schemeClr val="bg1"/>
                  </a:solidFill>
                </a:rPr>
                <a:t>DAM</a:t>
              </a:r>
            </a:p>
          </p:txBody>
        </p:sp>
      </p:grpSp>
      <p:grpSp>
        <p:nvGrpSpPr>
          <p:cNvPr id="2073" name="Group 2072">
            <a:extLst>
              <a:ext uri="{FF2B5EF4-FFF2-40B4-BE49-F238E27FC236}">
                <a16:creationId xmlns:a16="http://schemas.microsoft.com/office/drawing/2014/main" id="{D3217342-F3CE-1CF1-B145-BC4D9BE7E756}"/>
              </a:ext>
            </a:extLst>
          </p:cNvPr>
          <p:cNvGrpSpPr/>
          <p:nvPr/>
        </p:nvGrpSpPr>
        <p:grpSpPr>
          <a:xfrm>
            <a:off x="5820982" y="4094683"/>
            <a:ext cx="913047" cy="544428"/>
            <a:chOff x="7719880" y="1689179"/>
            <a:chExt cx="1572721" cy="978370"/>
          </a:xfrm>
        </p:grpSpPr>
        <p:pic>
          <p:nvPicPr>
            <p:cNvPr id="2074" name="Graphic 2073" descr="Checkmark with solid fill">
              <a:extLst>
                <a:ext uri="{FF2B5EF4-FFF2-40B4-BE49-F238E27FC236}">
                  <a16:creationId xmlns:a16="http://schemas.microsoft.com/office/drawing/2014/main" id="{64A7BB7D-B16C-05B5-B402-560B1506981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rcRect/>
            <a:stretch/>
          </p:blipFill>
          <p:spPr>
            <a:xfrm>
              <a:off x="8172257" y="1689179"/>
              <a:ext cx="610714" cy="566089"/>
            </a:xfrm>
            <a:prstGeom prst="rect">
              <a:avLst/>
            </a:prstGeom>
          </p:spPr>
        </p:pic>
        <p:sp>
          <p:nvSpPr>
            <p:cNvPr id="2075" name="TextBox 2074">
              <a:extLst>
                <a:ext uri="{FF2B5EF4-FFF2-40B4-BE49-F238E27FC236}">
                  <a16:creationId xmlns:a16="http://schemas.microsoft.com/office/drawing/2014/main" id="{21EE9B19-3ACD-A12D-1C88-F68602B9FD9D}"/>
                </a:ext>
              </a:extLst>
            </p:cNvPr>
            <p:cNvSpPr txBox="1"/>
            <p:nvPr/>
          </p:nvSpPr>
          <p:spPr>
            <a:xfrm>
              <a:off x="7719880" y="2298995"/>
              <a:ext cx="1572721" cy="36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900" b="1">
                  <a:solidFill>
                    <a:schemeClr val="bg1"/>
                  </a:solidFill>
                </a:rPr>
                <a:t>APPROVALS</a:t>
              </a:r>
            </a:p>
          </p:txBody>
        </p:sp>
      </p:grpSp>
      <p:sp>
        <p:nvSpPr>
          <p:cNvPr id="2057" name="Rectangle: Rounded Corners 2056">
            <a:extLst>
              <a:ext uri="{FF2B5EF4-FFF2-40B4-BE49-F238E27FC236}">
                <a16:creationId xmlns:a16="http://schemas.microsoft.com/office/drawing/2014/main" id="{22153761-232B-DB0B-A57E-528601AEE049}"/>
              </a:ext>
            </a:extLst>
          </p:cNvPr>
          <p:cNvSpPr/>
          <p:nvPr/>
        </p:nvSpPr>
        <p:spPr>
          <a:xfrm>
            <a:off x="2236073" y="1409701"/>
            <a:ext cx="5534925" cy="900000"/>
          </a:xfrm>
          <a:prstGeom prst="roundRect">
            <a:avLst/>
          </a:prstGeom>
          <a:solidFill>
            <a:srgbClr val="3970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/>
              <a:t>ACTIVATIONS</a:t>
            </a:r>
          </a:p>
        </p:txBody>
      </p:sp>
      <p:grpSp>
        <p:nvGrpSpPr>
          <p:cNvPr id="2052" name="Group 2051">
            <a:extLst>
              <a:ext uri="{FF2B5EF4-FFF2-40B4-BE49-F238E27FC236}">
                <a16:creationId xmlns:a16="http://schemas.microsoft.com/office/drawing/2014/main" id="{BFED408F-65FF-23F6-122A-028DE295E5FF}"/>
              </a:ext>
            </a:extLst>
          </p:cNvPr>
          <p:cNvGrpSpPr/>
          <p:nvPr/>
        </p:nvGrpSpPr>
        <p:grpSpPr>
          <a:xfrm>
            <a:off x="3423055" y="1601033"/>
            <a:ext cx="911489" cy="587218"/>
            <a:chOff x="7700961" y="1666868"/>
            <a:chExt cx="1570037" cy="1055266"/>
          </a:xfrm>
        </p:grpSpPr>
        <p:pic>
          <p:nvPicPr>
            <p:cNvPr id="2053" name="Graphic 2052" descr="Customer review outline">
              <a:extLst>
                <a:ext uri="{FF2B5EF4-FFF2-40B4-BE49-F238E27FC236}">
                  <a16:creationId xmlns:a16="http://schemas.microsoft.com/office/drawing/2014/main" id="{9B90DC41-3B3B-C504-31CA-97D603EAC89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>
            <a:xfrm>
              <a:off x="8172257" y="1666868"/>
              <a:ext cx="610713" cy="610712"/>
            </a:xfrm>
            <a:prstGeom prst="rect">
              <a:avLst/>
            </a:prstGeom>
          </p:spPr>
        </p:pic>
        <p:sp>
          <p:nvSpPr>
            <p:cNvPr id="2054" name="TextBox 2053">
              <a:extLst>
                <a:ext uri="{FF2B5EF4-FFF2-40B4-BE49-F238E27FC236}">
                  <a16:creationId xmlns:a16="http://schemas.microsoft.com/office/drawing/2014/main" id="{F8265ADC-8618-E0A3-52DF-031A0212AE90}"/>
                </a:ext>
              </a:extLst>
            </p:cNvPr>
            <p:cNvSpPr txBox="1"/>
            <p:nvPr/>
          </p:nvSpPr>
          <p:spPr>
            <a:xfrm>
              <a:off x="7700961" y="2230726"/>
              <a:ext cx="1570037" cy="49140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700" b="1">
                  <a:solidFill>
                    <a:schemeClr val="bg1"/>
                  </a:solidFill>
                </a:rPr>
                <a:t>FIELD MANAGEMENT</a:t>
              </a:r>
            </a:p>
          </p:txBody>
        </p:sp>
      </p:grpSp>
      <p:grpSp>
        <p:nvGrpSpPr>
          <p:cNvPr id="2063" name="Group 2062">
            <a:extLst>
              <a:ext uri="{FF2B5EF4-FFF2-40B4-BE49-F238E27FC236}">
                <a16:creationId xmlns:a16="http://schemas.microsoft.com/office/drawing/2014/main" id="{5A7CA641-68DC-91AB-ED15-C344BB65CC72}"/>
              </a:ext>
            </a:extLst>
          </p:cNvPr>
          <p:cNvGrpSpPr/>
          <p:nvPr/>
        </p:nvGrpSpPr>
        <p:grpSpPr>
          <a:xfrm>
            <a:off x="5724815" y="1623190"/>
            <a:ext cx="1139054" cy="617975"/>
            <a:chOff x="7609989" y="1752995"/>
            <a:chExt cx="1962020" cy="1110539"/>
          </a:xfrm>
        </p:grpSpPr>
        <p:pic>
          <p:nvPicPr>
            <p:cNvPr id="2064" name="Graphic 2063" descr="Business Growth with solid fill">
              <a:extLst>
                <a:ext uri="{FF2B5EF4-FFF2-40B4-BE49-F238E27FC236}">
                  <a16:creationId xmlns:a16="http://schemas.microsoft.com/office/drawing/2014/main" id="{96A5E912-AF57-D96B-EDC8-EBF4A24B8B70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rcRect/>
            <a:stretch/>
          </p:blipFill>
          <p:spPr>
            <a:xfrm>
              <a:off x="8334407" y="1752995"/>
              <a:ext cx="610712" cy="566087"/>
            </a:xfrm>
            <a:prstGeom prst="rect">
              <a:avLst/>
            </a:prstGeom>
          </p:spPr>
        </p:pic>
        <p:sp>
          <p:nvSpPr>
            <p:cNvPr id="2065" name="TextBox 2064">
              <a:extLst>
                <a:ext uri="{FF2B5EF4-FFF2-40B4-BE49-F238E27FC236}">
                  <a16:creationId xmlns:a16="http://schemas.microsoft.com/office/drawing/2014/main" id="{0781D4EB-36A7-F69A-8F65-00C096FC883B}"/>
                </a:ext>
              </a:extLst>
            </p:cNvPr>
            <p:cNvSpPr txBox="1"/>
            <p:nvPr/>
          </p:nvSpPr>
          <p:spPr>
            <a:xfrm>
              <a:off x="7609989" y="2310440"/>
              <a:ext cx="1962020" cy="55309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700" b="1">
                  <a:solidFill>
                    <a:schemeClr val="bg1"/>
                  </a:solidFill>
                </a:rPr>
                <a:t>LOCATION &amp; EVENT  INTELLIGENCE</a:t>
              </a:r>
            </a:p>
          </p:txBody>
        </p:sp>
      </p:grpSp>
      <p:grpSp>
        <p:nvGrpSpPr>
          <p:cNvPr id="2078" name="Group 2077">
            <a:extLst>
              <a:ext uri="{FF2B5EF4-FFF2-40B4-BE49-F238E27FC236}">
                <a16:creationId xmlns:a16="http://schemas.microsoft.com/office/drawing/2014/main" id="{C229B85B-C578-636B-FE31-9055C60C5323}"/>
              </a:ext>
            </a:extLst>
          </p:cNvPr>
          <p:cNvGrpSpPr/>
          <p:nvPr/>
        </p:nvGrpSpPr>
        <p:grpSpPr>
          <a:xfrm>
            <a:off x="2512794" y="1613448"/>
            <a:ext cx="818217" cy="533785"/>
            <a:chOff x="7772925" y="1689179"/>
            <a:chExt cx="1409378" cy="959243"/>
          </a:xfrm>
        </p:grpSpPr>
        <p:pic>
          <p:nvPicPr>
            <p:cNvPr id="2079" name="Graphic 2078" descr="Deciduous tree with solid fill">
              <a:extLst>
                <a:ext uri="{FF2B5EF4-FFF2-40B4-BE49-F238E27FC236}">
                  <a16:creationId xmlns:a16="http://schemas.microsoft.com/office/drawing/2014/main" id="{01C9F1B2-6D4E-BF91-8B73-0E4748F87CEA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rcRect/>
            <a:stretch/>
          </p:blipFill>
          <p:spPr>
            <a:xfrm>
              <a:off x="8172257" y="1689179"/>
              <a:ext cx="610714" cy="566089"/>
            </a:xfrm>
            <a:prstGeom prst="rect">
              <a:avLst/>
            </a:prstGeom>
          </p:spPr>
        </p:pic>
        <p:sp>
          <p:nvSpPr>
            <p:cNvPr id="2080" name="TextBox 2079">
              <a:extLst>
                <a:ext uri="{FF2B5EF4-FFF2-40B4-BE49-F238E27FC236}">
                  <a16:creationId xmlns:a16="http://schemas.microsoft.com/office/drawing/2014/main" id="{163D5498-7164-9502-2152-206B4A495888}"/>
                </a:ext>
              </a:extLst>
            </p:cNvPr>
            <p:cNvSpPr txBox="1"/>
            <p:nvPr/>
          </p:nvSpPr>
          <p:spPr>
            <a:xfrm>
              <a:off x="7772925" y="2230726"/>
              <a:ext cx="1409378" cy="41769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1100" b="1">
                  <a:solidFill>
                    <a:schemeClr val="bg1"/>
                  </a:solidFill>
                </a:rPr>
                <a:t>TRACE</a:t>
              </a:r>
              <a:endParaRPr lang="en-GB" sz="600" b="1">
                <a:solidFill>
                  <a:schemeClr val="bg1"/>
                </a:solidFill>
              </a:endParaRPr>
            </a:p>
          </p:txBody>
        </p:sp>
      </p:grpSp>
      <p:grpSp>
        <p:nvGrpSpPr>
          <p:cNvPr id="2083" name="Group 2082">
            <a:extLst>
              <a:ext uri="{FF2B5EF4-FFF2-40B4-BE49-F238E27FC236}">
                <a16:creationId xmlns:a16="http://schemas.microsoft.com/office/drawing/2014/main" id="{24654016-32FD-C275-24F8-01B427ADB2AF}"/>
              </a:ext>
            </a:extLst>
          </p:cNvPr>
          <p:cNvGrpSpPr/>
          <p:nvPr/>
        </p:nvGrpSpPr>
        <p:grpSpPr>
          <a:xfrm>
            <a:off x="6640261" y="1587678"/>
            <a:ext cx="1007868" cy="528959"/>
            <a:chOff x="7609587" y="1689179"/>
            <a:chExt cx="1736052" cy="950571"/>
          </a:xfrm>
        </p:grpSpPr>
        <p:pic>
          <p:nvPicPr>
            <p:cNvPr id="2084" name="Graphic 2083" descr="Morse Code with solid fill">
              <a:extLst>
                <a:ext uri="{FF2B5EF4-FFF2-40B4-BE49-F238E27FC236}">
                  <a16:creationId xmlns:a16="http://schemas.microsoft.com/office/drawing/2014/main" id="{9D4BA507-D5C3-B840-3B61-9E414289BD8D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rcRect/>
            <a:stretch/>
          </p:blipFill>
          <p:spPr>
            <a:xfrm>
              <a:off x="8206312" y="1689179"/>
              <a:ext cx="542599" cy="566086"/>
            </a:xfrm>
            <a:prstGeom prst="rect">
              <a:avLst/>
            </a:prstGeom>
          </p:spPr>
        </p:pic>
        <p:sp>
          <p:nvSpPr>
            <p:cNvPr id="2085" name="TextBox 2084">
              <a:extLst>
                <a:ext uri="{FF2B5EF4-FFF2-40B4-BE49-F238E27FC236}">
                  <a16:creationId xmlns:a16="http://schemas.microsoft.com/office/drawing/2014/main" id="{D82E6132-E750-A688-99EB-F8DEF236A3FE}"/>
                </a:ext>
              </a:extLst>
            </p:cNvPr>
            <p:cNvSpPr txBox="1"/>
            <p:nvPr/>
          </p:nvSpPr>
          <p:spPr>
            <a:xfrm>
              <a:off x="7609587" y="2246624"/>
              <a:ext cx="1736052" cy="39312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1000" b="1" err="1">
                  <a:solidFill>
                    <a:schemeClr val="bg1"/>
                  </a:solidFill>
                </a:rPr>
                <a:t>rTAG</a:t>
              </a:r>
              <a:endParaRPr lang="en-GB" sz="1000" b="1">
                <a:solidFill>
                  <a:schemeClr val="bg1"/>
                </a:solidFill>
              </a:endParaRPr>
            </a:p>
          </p:txBody>
        </p:sp>
      </p:grpSp>
      <p:sp>
        <p:nvSpPr>
          <p:cNvPr id="2105" name="Arrow: Up-Down 2104">
            <a:extLst>
              <a:ext uri="{FF2B5EF4-FFF2-40B4-BE49-F238E27FC236}">
                <a16:creationId xmlns:a16="http://schemas.microsoft.com/office/drawing/2014/main" id="{42E00314-AFFD-61C1-9C91-F49B7F979C8F}"/>
              </a:ext>
            </a:extLst>
          </p:cNvPr>
          <p:cNvSpPr/>
          <p:nvPr/>
        </p:nvSpPr>
        <p:spPr>
          <a:xfrm rot="18363007">
            <a:off x="7799760" y="1618388"/>
            <a:ext cx="335965" cy="1083183"/>
          </a:xfrm>
          <a:prstGeom prst="upDownArrow">
            <a:avLst/>
          </a:prstGeom>
          <a:solidFill>
            <a:schemeClr val="bg1"/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109" name="Graphic 2108" descr="Artificial Intelligence with solid fill">
            <a:extLst>
              <a:ext uri="{FF2B5EF4-FFF2-40B4-BE49-F238E27FC236}">
                <a16:creationId xmlns:a16="http://schemas.microsoft.com/office/drawing/2014/main" id="{028D1973-5A1D-FD86-8804-6A3C8F6DEDE5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rcRect/>
          <a:stretch/>
        </p:blipFill>
        <p:spPr>
          <a:xfrm>
            <a:off x="2796409" y="4094683"/>
            <a:ext cx="315008" cy="315008"/>
          </a:xfrm>
          <a:prstGeom prst="rect">
            <a:avLst/>
          </a:prstGeom>
        </p:spPr>
      </p:pic>
      <p:sp>
        <p:nvSpPr>
          <p:cNvPr id="2110" name="TextBox 2109">
            <a:extLst>
              <a:ext uri="{FF2B5EF4-FFF2-40B4-BE49-F238E27FC236}">
                <a16:creationId xmlns:a16="http://schemas.microsoft.com/office/drawing/2014/main" id="{104F6F2A-4068-8FC6-7F93-8B2FC283CD62}"/>
              </a:ext>
            </a:extLst>
          </p:cNvPr>
          <p:cNvSpPr txBox="1"/>
          <p:nvPr/>
        </p:nvSpPr>
        <p:spPr>
          <a:xfrm>
            <a:off x="2284292" y="4439861"/>
            <a:ext cx="136200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000" b="1">
                <a:solidFill>
                  <a:schemeClr val="bg1"/>
                </a:solidFill>
              </a:rPr>
              <a:t>GENERATIVE AI</a:t>
            </a:r>
          </a:p>
        </p:txBody>
      </p:sp>
      <p:sp>
        <p:nvSpPr>
          <p:cNvPr id="3" name="Arrow: Up-Down 2">
            <a:extLst>
              <a:ext uri="{FF2B5EF4-FFF2-40B4-BE49-F238E27FC236}">
                <a16:creationId xmlns:a16="http://schemas.microsoft.com/office/drawing/2014/main" id="{B758B7BA-2CE3-5D84-60BE-01827A210970}"/>
              </a:ext>
            </a:extLst>
          </p:cNvPr>
          <p:cNvSpPr/>
          <p:nvPr/>
        </p:nvSpPr>
        <p:spPr>
          <a:xfrm rot="16200000">
            <a:off x="7809695" y="2730074"/>
            <a:ext cx="335965" cy="822980"/>
          </a:xfrm>
          <a:prstGeom prst="upDownArrow">
            <a:avLst/>
          </a:prstGeom>
          <a:solidFill>
            <a:schemeClr val="bg1"/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Arrow: Up-Down 4">
            <a:extLst>
              <a:ext uri="{FF2B5EF4-FFF2-40B4-BE49-F238E27FC236}">
                <a16:creationId xmlns:a16="http://schemas.microsoft.com/office/drawing/2014/main" id="{9B36B889-8F66-DFFB-6DB0-7602A3C9373F}"/>
              </a:ext>
            </a:extLst>
          </p:cNvPr>
          <p:cNvSpPr/>
          <p:nvPr/>
        </p:nvSpPr>
        <p:spPr>
          <a:xfrm rot="14131900">
            <a:off x="7750923" y="3551401"/>
            <a:ext cx="335965" cy="953432"/>
          </a:xfrm>
          <a:prstGeom prst="upDownArrow">
            <a:avLst/>
          </a:prstGeom>
          <a:solidFill>
            <a:schemeClr val="bg1"/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Arrow: Up-Down 5">
            <a:extLst>
              <a:ext uri="{FF2B5EF4-FFF2-40B4-BE49-F238E27FC236}">
                <a16:creationId xmlns:a16="http://schemas.microsoft.com/office/drawing/2014/main" id="{F50D2AA5-F92B-C60F-5A85-7D52FE27630B}"/>
              </a:ext>
            </a:extLst>
          </p:cNvPr>
          <p:cNvSpPr/>
          <p:nvPr/>
        </p:nvSpPr>
        <p:spPr>
          <a:xfrm rot="10800000">
            <a:off x="8707372" y="3863465"/>
            <a:ext cx="335965" cy="1655910"/>
          </a:xfrm>
          <a:prstGeom prst="upDownArrow">
            <a:avLst/>
          </a:prstGeom>
          <a:solidFill>
            <a:schemeClr val="bg1"/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Arrow: Up-Down 6">
            <a:extLst>
              <a:ext uri="{FF2B5EF4-FFF2-40B4-BE49-F238E27FC236}">
                <a16:creationId xmlns:a16="http://schemas.microsoft.com/office/drawing/2014/main" id="{0A179110-C7C1-2B5C-2CE5-377D3D4B7A69}"/>
              </a:ext>
            </a:extLst>
          </p:cNvPr>
          <p:cNvSpPr/>
          <p:nvPr/>
        </p:nvSpPr>
        <p:spPr>
          <a:xfrm>
            <a:off x="4789577" y="2038489"/>
            <a:ext cx="335965" cy="831933"/>
          </a:xfrm>
          <a:prstGeom prst="upDownArrow">
            <a:avLst/>
          </a:prstGeom>
          <a:solidFill>
            <a:schemeClr val="bg1"/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Arrow: Up-Down 7">
            <a:extLst>
              <a:ext uri="{FF2B5EF4-FFF2-40B4-BE49-F238E27FC236}">
                <a16:creationId xmlns:a16="http://schemas.microsoft.com/office/drawing/2014/main" id="{A6D02EEE-4957-E79D-E37F-06B140A21798}"/>
              </a:ext>
            </a:extLst>
          </p:cNvPr>
          <p:cNvSpPr/>
          <p:nvPr/>
        </p:nvSpPr>
        <p:spPr>
          <a:xfrm>
            <a:off x="4772629" y="3292087"/>
            <a:ext cx="335965" cy="852408"/>
          </a:xfrm>
          <a:prstGeom prst="upDownArrow">
            <a:avLst/>
          </a:prstGeom>
          <a:solidFill>
            <a:schemeClr val="bg1"/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Arrow: Up-Down 8">
            <a:extLst>
              <a:ext uri="{FF2B5EF4-FFF2-40B4-BE49-F238E27FC236}">
                <a16:creationId xmlns:a16="http://schemas.microsoft.com/office/drawing/2014/main" id="{E1FAA33E-B03A-32FB-DBF0-119228977F5E}"/>
              </a:ext>
            </a:extLst>
          </p:cNvPr>
          <p:cNvSpPr/>
          <p:nvPr/>
        </p:nvSpPr>
        <p:spPr>
          <a:xfrm>
            <a:off x="2263969" y="2015736"/>
            <a:ext cx="335965" cy="2190671"/>
          </a:xfrm>
          <a:prstGeom prst="upDownArrow">
            <a:avLst/>
          </a:prstGeom>
          <a:solidFill>
            <a:schemeClr val="bg1"/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56205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9831B1-D601-7F5A-B31C-1F8AAE2D10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0880" y="500217"/>
            <a:ext cx="11353800" cy="914399"/>
          </a:xfrm>
        </p:spPr>
        <p:txBody>
          <a:bodyPr/>
          <a:lstStyle/>
          <a:p>
            <a:r>
              <a:rPr lang="en-US">
                <a:latin typeface="Arial Black"/>
              </a:rPr>
              <a:t>POC - THEMES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7C5287-F8A6-0950-A61A-7047F72E04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61319" y="1863212"/>
            <a:ext cx="11353800" cy="4381499"/>
          </a:xfrm>
        </p:spPr>
        <p:txBody>
          <a:bodyPr vert="horz" lIns="0" tIns="0" rIns="0" bIns="0" rtlCol="0" anchor="t">
            <a:normAutofit/>
          </a:bodyPr>
          <a:lstStyle/>
          <a:p>
            <a:endParaRPr lang="en-GB" sz="1100" b="1">
              <a:latin typeface="Arial"/>
              <a:ea typeface="Verdana"/>
            </a:endParaRPr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739ED4-4242-26E7-19A2-A9061BD488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30</a:t>
            </a:fld>
            <a:endParaRPr lang="en-US"/>
          </a:p>
        </p:txBody>
      </p:sp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E0495705-C8D3-C7AB-59C8-5D6072B615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3110" y="911482"/>
            <a:ext cx="10023986" cy="5330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358016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TextBox 60">
            <a:extLst>
              <a:ext uri="{FF2B5EF4-FFF2-40B4-BE49-F238E27FC236}">
                <a16:creationId xmlns:a16="http://schemas.microsoft.com/office/drawing/2014/main" id="{0B189C4A-EC40-B71A-DB92-D6739AED5AF0}"/>
              </a:ext>
            </a:extLst>
          </p:cNvPr>
          <p:cNvSpPr txBox="1"/>
          <p:nvPr/>
        </p:nvSpPr>
        <p:spPr>
          <a:xfrm>
            <a:off x="3021593" y="1198381"/>
            <a:ext cx="4366725" cy="121533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27000">
              <a:lnSpc>
                <a:spcPct val="150000"/>
              </a:lnSpc>
            </a:pPr>
            <a:r>
              <a:rPr lang="en-GB" sz="1050" b="1" i="0">
                <a:solidFill>
                  <a:srgbClr val="374151"/>
                </a:solidFill>
                <a:effectLst/>
                <a:latin typeface="Poppins"/>
                <a:cs typeface="Poppins"/>
              </a:rPr>
              <a:t>Name of Persona:</a:t>
            </a:r>
            <a:r>
              <a:rPr lang="en-GB" sz="1050">
                <a:solidFill>
                  <a:srgbClr val="374151"/>
                </a:solidFill>
                <a:latin typeface="Poppins"/>
                <a:cs typeface="Poppins"/>
              </a:rPr>
              <a:t> </a:t>
            </a:r>
            <a:r>
              <a:rPr lang="en-GB" sz="1050" b="1">
                <a:solidFill>
                  <a:srgbClr val="374151"/>
                </a:solidFill>
                <a:latin typeface="Poppins"/>
                <a:cs typeface="Poppins"/>
              </a:rPr>
              <a:t> </a:t>
            </a:r>
            <a:r>
              <a:rPr lang="en-GB" sz="1050">
                <a:solidFill>
                  <a:srgbClr val="374151"/>
                </a:solidFill>
                <a:latin typeface="Poppins"/>
                <a:cs typeface="Poppins"/>
              </a:rPr>
              <a:t>Business Leaders &amp; Project Managers </a:t>
            </a:r>
            <a:br>
              <a:rPr lang="en-GB" sz="1050">
                <a:solidFill>
                  <a:srgbClr val="374151"/>
                </a:solidFill>
                <a:latin typeface="Poppins"/>
                <a:cs typeface="Poppins"/>
              </a:rPr>
            </a:br>
            <a:br>
              <a:rPr lang="en-GB" sz="1050" b="1" i="0">
                <a:effectLst/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lang="en-GB" sz="1050" b="1">
                <a:solidFill>
                  <a:srgbClr val="374151"/>
                </a:solidFill>
                <a:latin typeface="Poppins"/>
                <a:cs typeface="Poppins"/>
              </a:rPr>
              <a:t>Role:</a:t>
            </a:r>
            <a:r>
              <a:rPr lang="en-GB" sz="1050">
                <a:solidFill>
                  <a:srgbClr val="374151"/>
                </a:solidFill>
                <a:latin typeface="Poppins"/>
                <a:cs typeface="Poppins"/>
              </a:rPr>
              <a:t> </a:t>
            </a:r>
            <a:r>
              <a:rPr lang="en-GB" sz="900" i="1">
                <a:solidFill>
                  <a:srgbClr val="374151"/>
                </a:solidFill>
                <a:latin typeface="Poppins"/>
                <a:cs typeface="Poppins"/>
              </a:rPr>
              <a:t>Familiar with account teams and account event </a:t>
            </a:r>
            <a:r>
              <a:rPr lang="en-GB" sz="900" b="1" i="1">
                <a:solidFill>
                  <a:srgbClr val="374151"/>
                </a:solidFill>
                <a:latin typeface="Poppins"/>
                <a:cs typeface="Poppins"/>
              </a:rPr>
              <a:t>scheduling</a:t>
            </a:r>
            <a:r>
              <a:rPr lang="en-GB" sz="900" i="1">
                <a:solidFill>
                  <a:srgbClr val="374151"/>
                </a:solidFill>
                <a:latin typeface="Poppins"/>
                <a:cs typeface="Poppins"/>
              </a:rPr>
              <a:t>, communicates with Clients' to understand </a:t>
            </a:r>
            <a:r>
              <a:rPr lang="en-GB" sz="900" b="1" i="1">
                <a:solidFill>
                  <a:srgbClr val="374151"/>
                </a:solidFill>
                <a:latin typeface="Poppins"/>
                <a:cs typeface="Poppins"/>
              </a:rPr>
              <a:t>number of events</a:t>
            </a:r>
            <a:r>
              <a:rPr lang="en-GB" sz="900" i="1">
                <a:solidFill>
                  <a:srgbClr val="374151"/>
                </a:solidFill>
                <a:latin typeface="Poppins"/>
                <a:cs typeface="Poppins"/>
              </a:rPr>
              <a:t>, </a:t>
            </a:r>
            <a:r>
              <a:rPr lang="en-GB" sz="900" b="1" i="1">
                <a:solidFill>
                  <a:srgbClr val="374151"/>
                </a:solidFill>
                <a:latin typeface="Poppins"/>
                <a:cs typeface="Poppins"/>
              </a:rPr>
              <a:t>event details</a:t>
            </a:r>
            <a:r>
              <a:rPr lang="en-GB" sz="900" i="1">
                <a:solidFill>
                  <a:srgbClr val="374151"/>
                </a:solidFill>
                <a:latin typeface="Poppins"/>
                <a:cs typeface="Poppins"/>
              </a:rPr>
              <a:t>, </a:t>
            </a:r>
            <a:r>
              <a:rPr lang="en-GB" sz="900" b="1" i="1">
                <a:solidFill>
                  <a:srgbClr val="374151"/>
                </a:solidFill>
                <a:latin typeface="Poppins"/>
                <a:cs typeface="Poppins"/>
              </a:rPr>
              <a:t>scope</a:t>
            </a:r>
            <a:r>
              <a:rPr lang="en-GB" sz="900" i="1">
                <a:solidFill>
                  <a:srgbClr val="374151"/>
                </a:solidFill>
                <a:latin typeface="Poppins"/>
                <a:cs typeface="Poppins"/>
              </a:rPr>
              <a:t> and </a:t>
            </a:r>
            <a:r>
              <a:rPr lang="en-GB" sz="900" b="1" i="1">
                <a:solidFill>
                  <a:srgbClr val="374151"/>
                </a:solidFill>
                <a:latin typeface="Poppins"/>
                <a:cs typeface="Poppins"/>
              </a:rPr>
              <a:t>timing</a:t>
            </a:r>
            <a:r>
              <a:rPr lang="en-GB" sz="900" i="1">
                <a:solidFill>
                  <a:srgbClr val="374151"/>
                </a:solidFill>
                <a:latin typeface="Poppins"/>
                <a:cs typeface="Poppins"/>
              </a:rPr>
              <a:t> for execu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14C31C7-AEB3-A4DA-DF4F-C25E1D91FE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0" y="495301"/>
            <a:ext cx="11354100" cy="321425"/>
          </a:xfrm>
        </p:spPr>
        <p:txBody>
          <a:bodyPr>
            <a:normAutofit fontScale="90000"/>
          </a:bodyPr>
          <a:lstStyle/>
          <a:p>
            <a:r>
              <a:rPr lang="en-US"/>
              <a:t>USER PERSON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F9485AE-4FEF-CAA8-36C0-D37F26A54742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9255910" y="137659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Poppins" panose="00000500000000000000" pitchFamily="2" charset="0"/>
                <a:ea typeface="Poppins" panose="00000500000000000000" pitchFamily="2" charset="0"/>
                <a:cs typeface="Poppins" panose="00000500000000000000" pitchFamily="2" charset="0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31</a:t>
            </a:fld>
            <a:endParaRPr lang="en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52D478A-6714-4AD5-EE6F-99F656E5E024}"/>
              </a:ext>
            </a:extLst>
          </p:cNvPr>
          <p:cNvCxnSpPr>
            <a:cxnSpLocks/>
          </p:cNvCxnSpPr>
          <p:nvPr/>
        </p:nvCxnSpPr>
        <p:spPr>
          <a:xfrm>
            <a:off x="7274560" y="5063794"/>
            <a:ext cx="3498168" cy="0"/>
          </a:xfrm>
          <a:prstGeom prst="line">
            <a:avLst/>
          </a:prstGeom>
          <a:ln w="254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Picture Placeholder 1">
            <a:extLst>
              <a:ext uri="{FF2B5EF4-FFF2-40B4-BE49-F238E27FC236}">
                <a16:creationId xmlns:a16="http://schemas.microsoft.com/office/drawing/2014/main" id="{EE9412E0-1DF8-2CF3-A7A9-CE2FDA605CF2}"/>
              </a:ext>
            </a:extLst>
          </p:cNvPr>
          <p:cNvSpPr txBox="1">
            <a:spLocks/>
          </p:cNvSpPr>
          <p:nvPr/>
        </p:nvSpPr>
        <p:spPr>
          <a:xfrm>
            <a:off x="3027892" y="2723491"/>
            <a:ext cx="3970622" cy="3409910"/>
          </a:xfrm>
          <a:prstGeom prst="rect">
            <a:avLst/>
          </a:prstGeom>
          <a:noFill/>
        </p:spPr>
        <p:txBody>
          <a:bodyPr lIns="182880" tIns="137160" rIns="182880" bIns="45720" anchor="t"/>
          <a:lstStyle/>
          <a:p>
            <a:pPr marL="171450" indent="-171450">
              <a:buFont typeface="Calibri"/>
              <a:buChar char="-"/>
            </a:pPr>
            <a:r>
              <a:rPr lang="en-GB" sz="1050">
                <a:latin typeface="Poppins"/>
                <a:cs typeface="Poppins"/>
              </a:rPr>
              <a:t>As a Business Leader or Project manager, I would like to have one location to track events for my client campaigns.</a:t>
            </a:r>
            <a:br>
              <a:rPr lang="en-GB" sz="1050">
                <a:latin typeface="Poppins"/>
                <a:cs typeface="Poppins"/>
              </a:rPr>
            </a:br>
            <a:endParaRPr lang="en-GB" sz="1050">
              <a:latin typeface="Poppins"/>
              <a:cs typeface="Poppins"/>
            </a:endParaRPr>
          </a:p>
          <a:p>
            <a:pPr marL="171450" indent="-171450">
              <a:buFont typeface="Calibri"/>
              <a:buChar char="-"/>
            </a:pPr>
            <a:r>
              <a:rPr lang="en-GB" sz="1050">
                <a:latin typeface="Poppins"/>
                <a:cs typeface="Poppins"/>
              </a:rPr>
              <a:t>View upcoming, past, and scheduled events in a list and a calendar. I sometimes am required to provide Client with lists of events per region or team</a:t>
            </a:r>
            <a:br>
              <a:rPr lang="en-GB" sz="1050">
                <a:latin typeface="Poppins"/>
                <a:cs typeface="Poppins"/>
              </a:rPr>
            </a:br>
            <a:endParaRPr lang="en-GB" sz="1050">
              <a:latin typeface="Poppins"/>
              <a:cs typeface="Poppins"/>
            </a:endParaRPr>
          </a:p>
          <a:p>
            <a:pPr marL="171450" indent="-171450">
              <a:buFont typeface="Calibri"/>
              <a:buChar char="-"/>
            </a:pPr>
            <a:r>
              <a:rPr lang="en-GB" sz="1050">
                <a:latin typeface="Poppins"/>
                <a:cs typeface="Poppins"/>
              </a:rPr>
              <a:t>All of my events require a unique QR code, I would like to tie each event with a QR code in an easier way to control and test. </a:t>
            </a:r>
            <a:br>
              <a:rPr lang="en-GB" sz="1050">
                <a:latin typeface="Poppins"/>
                <a:cs typeface="Poppins"/>
              </a:rPr>
            </a:br>
            <a:endParaRPr lang="en-GB" sz="1050">
              <a:latin typeface="Poppins"/>
              <a:cs typeface="Poppins"/>
            </a:endParaRPr>
          </a:p>
          <a:p>
            <a:pPr marL="171450" indent="-171450">
              <a:buFont typeface="Calibri"/>
              <a:buChar char="-"/>
            </a:pPr>
            <a:r>
              <a:rPr lang="en-GB" sz="1050">
                <a:latin typeface="Poppins"/>
                <a:cs typeface="Poppins"/>
              </a:rPr>
              <a:t>Any event that requires BA recaps should talk to our field marketing platform to capture event metrics</a:t>
            </a:r>
            <a:br>
              <a:rPr lang="en-GB" sz="1050">
                <a:latin typeface="Poppins"/>
                <a:cs typeface="Poppins"/>
              </a:rPr>
            </a:br>
            <a:endParaRPr lang="en-GB" sz="105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71450" indent="-171450">
              <a:buFont typeface="Calibri"/>
              <a:buChar char="-"/>
            </a:pPr>
            <a:r>
              <a:rPr lang="en-GB" sz="1050">
                <a:latin typeface="Poppins"/>
                <a:cs typeface="Poppins"/>
              </a:rPr>
              <a:t>Once executed, all final data should be sent to MOMO Bi</a:t>
            </a:r>
            <a:endParaRPr lang="en-GB" sz="105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71450" indent="-171450">
              <a:buFont typeface="Calibri"/>
              <a:buChar char="-"/>
            </a:pPr>
            <a:endParaRPr lang="en-GB" sz="105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F582275-B29D-DB26-C731-F69DC85A3440}"/>
              </a:ext>
            </a:extLst>
          </p:cNvPr>
          <p:cNvSpPr txBox="1"/>
          <p:nvPr/>
        </p:nvSpPr>
        <p:spPr>
          <a:xfrm>
            <a:off x="3021594" y="2569621"/>
            <a:ext cx="1340432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buClrTx/>
              <a:defRPr/>
            </a:pPr>
            <a:r>
              <a:rPr lang="en-US" sz="1300" b="1" kern="1200">
                <a:gradFill flip="none" rotWithShape="1">
                  <a:gsLst>
                    <a:gs pos="0">
                      <a:schemeClr val="bg2">
                        <a:lumMod val="75000"/>
                      </a:schemeClr>
                    </a:gs>
                    <a:gs pos="100000">
                      <a:schemeClr val="bg2">
                        <a:lumMod val="25000"/>
                      </a:schemeClr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DESCRIPTION:</a:t>
            </a:r>
          </a:p>
        </p:txBody>
      </p:sp>
      <p:sp>
        <p:nvSpPr>
          <p:cNvPr id="27" name="Picture Placeholder 1">
            <a:extLst>
              <a:ext uri="{FF2B5EF4-FFF2-40B4-BE49-F238E27FC236}">
                <a16:creationId xmlns:a16="http://schemas.microsoft.com/office/drawing/2014/main" id="{9E62FA34-C1BB-9412-6ACC-EAFE9357EEF4}"/>
              </a:ext>
            </a:extLst>
          </p:cNvPr>
          <p:cNvSpPr txBox="1">
            <a:spLocks/>
          </p:cNvSpPr>
          <p:nvPr/>
        </p:nvSpPr>
        <p:spPr>
          <a:xfrm>
            <a:off x="7274560" y="1098065"/>
            <a:ext cx="4673349" cy="1160459"/>
          </a:xfrm>
          <a:prstGeom prst="rect">
            <a:avLst/>
          </a:prstGeom>
          <a:noFill/>
        </p:spPr>
        <p:txBody>
          <a:bodyPr lIns="182880" tIns="137160" rIns="182880" bIns="45720" anchor="t"/>
          <a:lstStyle/>
          <a:p>
            <a:pPr marL="171450" indent="-171450">
              <a:spcAft>
                <a:spcPts val="400"/>
              </a:spcAft>
              <a:buFont typeface="Calibri"/>
              <a:buChar char="-"/>
              <a:defRPr/>
            </a:pPr>
            <a:r>
              <a:rPr lang="en-GB" sz="1050">
                <a:solidFill>
                  <a:srgbClr val="374151"/>
                </a:solidFill>
                <a:latin typeface="Poppins"/>
                <a:cs typeface="Poppins"/>
              </a:rPr>
              <a:t>A process to keep all </a:t>
            </a:r>
            <a:r>
              <a:rPr lang="en-GB" sz="1050">
                <a:latin typeface="Poppins"/>
                <a:cs typeface="Poppins"/>
              </a:rPr>
              <a:t>campaigns &amp;</a:t>
            </a:r>
            <a:r>
              <a:rPr lang="en-GB" sz="1050">
                <a:solidFill>
                  <a:srgbClr val="374151"/>
                </a:solidFill>
                <a:latin typeface="Poppins"/>
                <a:cs typeface="Poppins"/>
              </a:rPr>
              <a:t> events up to date.</a:t>
            </a:r>
          </a:p>
          <a:p>
            <a:pPr marL="171450" indent="-171450">
              <a:spcAft>
                <a:spcPts val="400"/>
              </a:spcAft>
              <a:buFont typeface="Calibri"/>
              <a:buChar char="-"/>
              <a:defRPr/>
            </a:pPr>
            <a:r>
              <a:rPr lang="en-GB" sz="1050">
                <a:solidFill>
                  <a:srgbClr val="374151"/>
                </a:solidFill>
                <a:latin typeface="Poppins"/>
                <a:cs typeface="Poppins"/>
              </a:rPr>
              <a:t>One source of truth for all event scheduling</a:t>
            </a:r>
            <a:endParaRPr lang="en-GB"/>
          </a:p>
          <a:p>
            <a:pPr marL="171450" indent="-171450">
              <a:spcAft>
                <a:spcPts val="400"/>
              </a:spcAft>
              <a:buFont typeface="Calibri"/>
              <a:buChar char="-"/>
              <a:defRPr/>
            </a:pPr>
            <a:r>
              <a:rPr lang="en-GB" sz="1050">
                <a:solidFill>
                  <a:srgbClr val="374151"/>
                </a:solidFill>
                <a:latin typeface="Poppins"/>
                <a:cs typeface="Poppins"/>
              </a:rPr>
              <a:t>Mitigate multiple spreadsheets and </a:t>
            </a:r>
            <a:r>
              <a:rPr lang="en-GB" sz="1050" err="1">
                <a:solidFill>
                  <a:srgbClr val="374151"/>
                </a:solidFill>
                <a:latin typeface="Poppins"/>
                <a:cs typeface="Poppins"/>
              </a:rPr>
              <a:t>Smartsheets</a:t>
            </a:r>
            <a:r>
              <a:rPr lang="en-GB" sz="1050">
                <a:solidFill>
                  <a:srgbClr val="374151"/>
                </a:solidFill>
                <a:latin typeface="Poppins"/>
                <a:cs typeface="Poppins"/>
              </a:rPr>
              <a:t> where events are tracked</a:t>
            </a:r>
          </a:p>
          <a:p>
            <a:pPr marL="171450" indent="-171450">
              <a:spcAft>
                <a:spcPts val="400"/>
              </a:spcAft>
              <a:buFont typeface="Calibri"/>
              <a:buChar char="-"/>
              <a:defRPr/>
            </a:pPr>
            <a:r>
              <a:rPr lang="en-GB" sz="1050">
                <a:solidFill>
                  <a:srgbClr val="374151"/>
                </a:solidFill>
                <a:latin typeface="Poppins"/>
                <a:cs typeface="Poppins"/>
              </a:rPr>
              <a:t>Review upcoming and past events for planning</a:t>
            </a:r>
          </a:p>
          <a:p>
            <a:pPr lvl="1">
              <a:spcAft>
                <a:spcPts val="400"/>
              </a:spcAft>
              <a:defRPr/>
            </a:pPr>
            <a:endParaRPr lang="en-GB" sz="1050">
              <a:solidFill>
                <a:srgbClr val="374151"/>
              </a:solidFill>
              <a:latin typeface="Poppins"/>
              <a:cs typeface="Poppin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BD5653F-2AEF-7BDB-0669-0D1575AE9289}"/>
              </a:ext>
            </a:extLst>
          </p:cNvPr>
          <p:cNvSpPr txBox="1"/>
          <p:nvPr/>
        </p:nvSpPr>
        <p:spPr>
          <a:xfrm>
            <a:off x="7274560" y="1003967"/>
            <a:ext cx="797013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300" b="1">
                <a:gradFill flip="none" rotWithShape="1">
                  <a:gsLst>
                    <a:gs pos="0">
                      <a:schemeClr val="accent3"/>
                    </a:gs>
                    <a:gs pos="100000">
                      <a:schemeClr val="accent4"/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latin typeface="Century Gothic" panose="020B0502020202020204" pitchFamily="34" charset="0"/>
              </a:defRPr>
            </a:lvl1pPr>
          </a:lstStyle>
          <a:p>
            <a:pPr lvl="0">
              <a:buClrTx/>
              <a:defRPr/>
            </a:pPr>
            <a:r>
              <a:rPr lang="en-US" kern="1200">
                <a:gradFill flip="none" rotWithShape="1">
                  <a:gsLst>
                    <a:gs pos="0">
                      <a:schemeClr val="bg2">
                        <a:lumMod val="75000"/>
                      </a:schemeClr>
                    </a:gs>
                    <a:gs pos="100000">
                      <a:schemeClr val="bg2">
                        <a:lumMod val="25000"/>
                      </a:schemeClr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GOALS:</a:t>
            </a:r>
            <a:endParaRPr kumimoji="0" lang="en-US" sz="1300" b="1" i="0" u="none" strike="noStrike" kern="1200" cap="none" spc="0" normalizeH="0" baseline="0" noProof="0">
              <a:ln>
                <a:noFill/>
              </a:ln>
              <a:gradFill flip="none" rotWithShape="1">
                <a:gsLst>
                  <a:gs pos="0">
                    <a:schemeClr val="bg2">
                      <a:lumMod val="75000"/>
                    </a:schemeClr>
                  </a:gs>
                  <a:gs pos="100000">
                    <a:schemeClr val="bg2">
                      <a:lumMod val="25000"/>
                    </a:schemeClr>
                  </a:gs>
                </a:gsLst>
                <a:path path="circle">
                  <a:fillToRect l="100000" b="100000"/>
                </a:path>
                <a:tileRect t="-100000" r="-100000"/>
              </a:gra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61E215C8-12EF-DBF6-F7EF-A014B83960D2}"/>
              </a:ext>
            </a:extLst>
          </p:cNvPr>
          <p:cNvCxnSpPr>
            <a:cxnSpLocks/>
          </p:cNvCxnSpPr>
          <p:nvPr/>
        </p:nvCxnSpPr>
        <p:spPr>
          <a:xfrm>
            <a:off x="7274560" y="5023733"/>
            <a:ext cx="3498168" cy="0"/>
          </a:xfrm>
          <a:prstGeom prst="line">
            <a:avLst/>
          </a:prstGeom>
          <a:ln w="254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0" name="Group 59">
            <a:extLst>
              <a:ext uri="{FF2B5EF4-FFF2-40B4-BE49-F238E27FC236}">
                <a16:creationId xmlns:a16="http://schemas.microsoft.com/office/drawing/2014/main" id="{2CBFE7EA-70A3-45DC-2AF6-14E715261A43}"/>
              </a:ext>
            </a:extLst>
          </p:cNvPr>
          <p:cNvGrpSpPr/>
          <p:nvPr/>
        </p:nvGrpSpPr>
        <p:grpSpPr>
          <a:xfrm>
            <a:off x="424247" y="1199568"/>
            <a:ext cx="2538342" cy="3264173"/>
            <a:chOff x="424247" y="1069537"/>
            <a:chExt cx="2538342" cy="3264173"/>
          </a:xfrm>
        </p:grpSpPr>
        <p:sp>
          <p:nvSpPr>
            <p:cNvPr id="49" name="Rounded Rectangle">
              <a:extLst>
                <a:ext uri="{FF2B5EF4-FFF2-40B4-BE49-F238E27FC236}">
                  <a16:creationId xmlns:a16="http://schemas.microsoft.com/office/drawing/2014/main" id="{9C173757-CD2D-A8A4-A78F-EC115260D5CE}"/>
                </a:ext>
              </a:extLst>
            </p:cNvPr>
            <p:cNvSpPr/>
            <p:nvPr/>
          </p:nvSpPr>
          <p:spPr>
            <a:xfrm>
              <a:off x="424247" y="1188867"/>
              <a:ext cx="2538342" cy="1963082"/>
            </a:xfrm>
            <a:prstGeom prst="roundRect">
              <a:avLst>
                <a:gd name="adj" fmla="val 50000"/>
              </a:avLst>
            </a:prstGeom>
            <a:blipFill dpi="0" rotWithShape="1">
              <a:blip r:embed="rId2"/>
              <a:srcRect/>
              <a:stretch>
                <a:fillRect/>
              </a:stretch>
            </a:blip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kumimoji="0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  <a:sym typeface="Helvetica Neue Medium"/>
              </a:endParaRPr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96AF1FE5-D513-7F04-DF9F-0C01A474532E}"/>
                </a:ext>
              </a:extLst>
            </p:cNvPr>
            <p:cNvGrpSpPr/>
            <p:nvPr/>
          </p:nvGrpSpPr>
          <p:grpSpPr>
            <a:xfrm>
              <a:off x="585814" y="1069537"/>
              <a:ext cx="2211110" cy="2211110"/>
              <a:chOff x="585814" y="860401"/>
              <a:chExt cx="2211110" cy="2211110"/>
            </a:xfrm>
          </p:grpSpPr>
          <p:sp>
            <p:nvSpPr>
              <p:cNvPr id="47" name="Rounded Rectangle">
                <a:extLst>
                  <a:ext uri="{FF2B5EF4-FFF2-40B4-BE49-F238E27FC236}">
                    <a16:creationId xmlns:a16="http://schemas.microsoft.com/office/drawing/2014/main" id="{C537DFD5-3C48-C481-B3BA-9B949E8DE62D}"/>
                  </a:ext>
                </a:extLst>
              </p:cNvPr>
              <p:cNvSpPr/>
              <p:nvPr/>
            </p:nvSpPr>
            <p:spPr>
              <a:xfrm rot="16997954">
                <a:off x="585814" y="860401"/>
                <a:ext cx="2211110" cy="2211110"/>
              </a:xfrm>
              <a:prstGeom prst="roundRect">
                <a:avLst>
                  <a:gd name="adj" fmla="val 50000"/>
                </a:avLst>
              </a:prstGeom>
              <a:noFill/>
              <a:ln w="6350">
                <a:gradFill flip="none" rotWithShape="1">
                  <a:gsLst>
                    <a:gs pos="0">
                      <a:schemeClr val="accent1">
                        <a:alpha val="5000"/>
                      </a:schemeClr>
                    </a:gs>
                    <a:gs pos="50000">
                      <a:schemeClr val="accent3">
                        <a:alpha val="15000"/>
                      </a:schemeClr>
                    </a:gs>
                    <a:gs pos="100000">
                      <a:schemeClr val="accent4">
                        <a:alpha val="20000"/>
                      </a:scheme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18288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1" i="0" u="none" strike="noStrike" kern="1200" cap="none" spc="0" normalizeH="0" baseline="0" noProof="0">
                  <a:ln>
                    <a:noFill/>
                  </a:ln>
                  <a:solidFill>
                    <a:srgbClr val="F7F5F4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</a:endParaRPr>
              </a:p>
            </p:txBody>
          </p:sp>
          <p:sp>
            <p:nvSpPr>
              <p:cNvPr id="48" name="Rounded Rectangle">
                <a:extLst>
                  <a:ext uri="{FF2B5EF4-FFF2-40B4-BE49-F238E27FC236}">
                    <a16:creationId xmlns:a16="http://schemas.microsoft.com/office/drawing/2014/main" id="{4DFBE14A-E8B9-0D26-6685-F5291657F7CF}"/>
                  </a:ext>
                </a:extLst>
              </p:cNvPr>
              <p:cNvSpPr/>
              <p:nvPr/>
            </p:nvSpPr>
            <p:spPr>
              <a:xfrm rot="211906">
                <a:off x="646490" y="915871"/>
                <a:ext cx="2090802" cy="2090802"/>
              </a:xfrm>
              <a:prstGeom prst="roundRect">
                <a:avLst>
                  <a:gd name="adj" fmla="val 50000"/>
                </a:avLst>
              </a:prstGeom>
              <a:noFill/>
              <a:ln w="6350">
                <a:gradFill flip="none" rotWithShape="1">
                  <a:gsLst>
                    <a:gs pos="0">
                      <a:schemeClr val="accent1">
                        <a:alpha val="25000"/>
                      </a:schemeClr>
                    </a:gs>
                    <a:gs pos="50000">
                      <a:schemeClr val="accent3">
                        <a:alpha val="35000"/>
                      </a:schemeClr>
                    </a:gs>
                    <a:gs pos="100000">
                      <a:schemeClr val="accent4">
                        <a:alpha val="50000"/>
                      </a:scheme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18288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1" i="0" u="none" strike="noStrike" kern="1200" cap="none" spc="0" normalizeH="0" baseline="0" noProof="0">
                  <a:ln>
                    <a:noFill/>
                  </a:ln>
                  <a:solidFill>
                    <a:srgbClr val="F7F5F4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</a:endParaRPr>
              </a:p>
            </p:txBody>
          </p:sp>
        </p:grpSp>
        <p:sp>
          <p:nvSpPr>
            <p:cNvPr id="50" name="Rounded Rectangle">
              <a:extLst>
                <a:ext uri="{FF2B5EF4-FFF2-40B4-BE49-F238E27FC236}">
                  <a16:creationId xmlns:a16="http://schemas.microsoft.com/office/drawing/2014/main" id="{31D2EA10-9B51-E346-118E-900E2208B5BB}"/>
                </a:ext>
              </a:extLst>
            </p:cNvPr>
            <p:cNvSpPr/>
            <p:nvPr/>
          </p:nvSpPr>
          <p:spPr>
            <a:xfrm>
              <a:off x="474861" y="2692386"/>
              <a:ext cx="2487728" cy="1641324"/>
            </a:xfrm>
            <a:prstGeom prst="roundRect">
              <a:avLst>
                <a:gd name="adj" fmla="val 9037"/>
              </a:avLst>
            </a:prstGeom>
            <a:gradFill flip="none" rotWithShape="1">
              <a:gsLst>
                <a:gs pos="19000">
                  <a:srgbClr val="0EBDC5"/>
                </a:gs>
                <a:gs pos="71000">
                  <a:srgbClr val="0781C2"/>
                </a:gs>
                <a:gs pos="40000">
                  <a:schemeClr val="accent3"/>
                </a:gs>
                <a:gs pos="100000">
                  <a:schemeClr val="accent4"/>
                </a:gs>
              </a:gsLst>
              <a:path path="circle">
                <a:fillToRect r="100000" b="100000"/>
              </a:path>
              <a:tileRect l="-100000" t="-100000"/>
            </a:gradFill>
            <a:ln w="25400" cap="flat">
              <a:noFill/>
              <a:miter lim="400000"/>
            </a:ln>
            <a:effectLst>
              <a:outerShdw blurRad="508000" sx="97000" sy="97000" algn="ctr" rotWithShape="0">
                <a:prstClr val="black">
                  <a:alpha val="25000"/>
                </a:prstClr>
              </a:outerShdw>
            </a:effectLst>
          </p:spPr>
          <p:txBody>
            <a:bodyPr wrap="square" lIns="91440" tIns="0" rIns="91440" bIns="45720" numCol="1" anchor="ctr">
              <a:noAutofit/>
            </a:bodyPr>
            <a:lstStyle/>
            <a:p>
              <a:pPr lvl="0" algn="ctr">
                <a:buClrTx/>
                <a:defRPr/>
              </a:pPr>
              <a:r>
                <a:rPr lang="en-GB" sz="1000" b="1" i="1">
                  <a:solidFill>
                    <a:schemeClr val="bg1"/>
                  </a:solidFill>
                  <a:latin typeface="Poppins"/>
                  <a:cs typeface="Poppins"/>
                </a:rPr>
                <a:t>My job is to </a:t>
              </a:r>
              <a:r>
                <a:rPr lang="en-US" sz="1000" b="1" i="1" u="none" strike="noStrike">
                  <a:solidFill>
                    <a:srgbClr val="FFFFFF"/>
                  </a:solidFill>
                  <a:effectLst/>
                  <a:latin typeface="Poppins" pitchFamily="2" charset="77"/>
                  <a:cs typeface="Poppins" panose="00000500000000000000" pitchFamily="2" charset="0"/>
                </a:rPr>
                <a:t>oversee and drive the successful execution and delivery of projects within the agency, through building and orchestrating project plans across the business.</a:t>
              </a:r>
              <a:endParaRPr lang="en-GB" sz="1000" b="1" i="1">
                <a:solidFill>
                  <a:schemeClr val="bg1"/>
                </a:solidFill>
                <a:latin typeface="Poppins"/>
                <a:cs typeface="Poppins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38A49FFE-6837-F603-11A7-D8D3571D5594}"/>
                </a:ext>
              </a:extLst>
            </p:cNvPr>
            <p:cNvSpPr/>
            <p:nvPr/>
          </p:nvSpPr>
          <p:spPr>
            <a:xfrm>
              <a:off x="2636429" y="4020706"/>
              <a:ext cx="127848" cy="101460"/>
            </a:xfrm>
            <a:custGeom>
              <a:avLst/>
              <a:gdLst>
                <a:gd name="connsiteX0" fmla="*/ 285750 w 476250"/>
                <a:gd name="connsiteY0" fmla="*/ 0 h 377952"/>
                <a:gd name="connsiteX1" fmla="*/ 476250 w 476250"/>
                <a:gd name="connsiteY1" fmla="*/ 0 h 377952"/>
                <a:gd name="connsiteX2" fmla="*/ 476250 w 476250"/>
                <a:gd name="connsiteY2" fmla="*/ 190500 h 377952"/>
                <a:gd name="connsiteX3" fmla="*/ 285750 w 476250"/>
                <a:gd name="connsiteY3" fmla="*/ 377952 h 377952"/>
                <a:gd name="connsiteX4" fmla="*/ 285750 w 476250"/>
                <a:gd name="connsiteY4" fmla="*/ 296228 h 377952"/>
                <a:gd name="connsiteX5" fmla="*/ 394430 w 476250"/>
                <a:gd name="connsiteY5" fmla="*/ 190500 h 377952"/>
                <a:gd name="connsiteX6" fmla="*/ 285750 w 476250"/>
                <a:gd name="connsiteY6" fmla="*/ 190500 h 377952"/>
                <a:gd name="connsiteX7" fmla="*/ 0 w 476250"/>
                <a:gd name="connsiteY7" fmla="*/ 0 h 377952"/>
                <a:gd name="connsiteX8" fmla="*/ 190500 w 476250"/>
                <a:gd name="connsiteY8" fmla="*/ 0 h 377952"/>
                <a:gd name="connsiteX9" fmla="*/ 190500 w 476250"/>
                <a:gd name="connsiteY9" fmla="*/ 190500 h 377952"/>
                <a:gd name="connsiteX10" fmla="*/ 0 w 476250"/>
                <a:gd name="connsiteY10" fmla="*/ 377952 h 377952"/>
                <a:gd name="connsiteX11" fmla="*/ 0 w 476250"/>
                <a:gd name="connsiteY11" fmla="*/ 296228 h 377952"/>
                <a:gd name="connsiteX12" fmla="*/ 108680 w 476250"/>
                <a:gd name="connsiteY12" fmla="*/ 190500 h 377952"/>
                <a:gd name="connsiteX13" fmla="*/ 0 w 476250"/>
                <a:gd name="connsiteY13" fmla="*/ 190500 h 37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6250" h="377952">
                  <a:moveTo>
                    <a:pt x="285750" y="0"/>
                  </a:moveTo>
                  <a:lnTo>
                    <a:pt x="476250" y="0"/>
                  </a:lnTo>
                  <a:lnTo>
                    <a:pt x="476250" y="190500"/>
                  </a:lnTo>
                  <a:cubicBezTo>
                    <a:pt x="474585" y="294518"/>
                    <a:pt x="389781" y="377965"/>
                    <a:pt x="285750" y="377952"/>
                  </a:cubicBezTo>
                  <a:lnTo>
                    <a:pt x="285750" y="296228"/>
                  </a:lnTo>
                  <a:cubicBezTo>
                    <a:pt x="344617" y="296199"/>
                    <a:pt x="392781" y="249344"/>
                    <a:pt x="394430" y="190500"/>
                  </a:cubicBezTo>
                  <a:lnTo>
                    <a:pt x="285750" y="190500"/>
                  </a:lnTo>
                  <a:close/>
                  <a:moveTo>
                    <a:pt x="0" y="0"/>
                  </a:moveTo>
                  <a:lnTo>
                    <a:pt x="190500" y="0"/>
                  </a:lnTo>
                  <a:lnTo>
                    <a:pt x="190500" y="190500"/>
                  </a:lnTo>
                  <a:cubicBezTo>
                    <a:pt x="188835" y="294518"/>
                    <a:pt x="104031" y="377965"/>
                    <a:pt x="0" y="377952"/>
                  </a:cubicBezTo>
                  <a:lnTo>
                    <a:pt x="0" y="296228"/>
                  </a:lnTo>
                  <a:cubicBezTo>
                    <a:pt x="58867" y="296199"/>
                    <a:pt x="107031" y="249344"/>
                    <a:pt x="108680" y="190500"/>
                  </a:cubicBezTo>
                  <a:lnTo>
                    <a:pt x="0" y="19050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B1E20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66F3E653-7EEF-6BA0-2923-D98A1EBA1BFE}"/>
                </a:ext>
              </a:extLst>
            </p:cNvPr>
            <p:cNvSpPr/>
            <p:nvPr/>
          </p:nvSpPr>
          <p:spPr>
            <a:xfrm>
              <a:off x="584076" y="2854813"/>
              <a:ext cx="127848" cy="101460"/>
            </a:xfrm>
            <a:custGeom>
              <a:avLst/>
              <a:gdLst>
                <a:gd name="connsiteX0" fmla="*/ 476250 w 476250"/>
                <a:gd name="connsiteY0" fmla="*/ 0 h 377952"/>
                <a:gd name="connsiteX1" fmla="*/ 476250 w 476250"/>
                <a:gd name="connsiteY1" fmla="*/ 81725 h 377952"/>
                <a:gd name="connsiteX2" fmla="*/ 367570 w 476250"/>
                <a:gd name="connsiteY2" fmla="*/ 187452 h 377952"/>
                <a:gd name="connsiteX3" fmla="*/ 476250 w 476250"/>
                <a:gd name="connsiteY3" fmla="*/ 187452 h 377952"/>
                <a:gd name="connsiteX4" fmla="*/ 476250 w 476250"/>
                <a:gd name="connsiteY4" fmla="*/ 377952 h 377952"/>
                <a:gd name="connsiteX5" fmla="*/ 285750 w 476250"/>
                <a:gd name="connsiteY5" fmla="*/ 377952 h 377952"/>
                <a:gd name="connsiteX6" fmla="*/ 285750 w 476250"/>
                <a:gd name="connsiteY6" fmla="*/ 187452 h 377952"/>
                <a:gd name="connsiteX7" fmla="*/ 476250 w 476250"/>
                <a:gd name="connsiteY7" fmla="*/ 0 h 377952"/>
                <a:gd name="connsiteX8" fmla="*/ 190500 w 476250"/>
                <a:gd name="connsiteY8" fmla="*/ 0 h 377952"/>
                <a:gd name="connsiteX9" fmla="*/ 190500 w 476250"/>
                <a:gd name="connsiteY9" fmla="*/ 81725 h 377952"/>
                <a:gd name="connsiteX10" fmla="*/ 81820 w 476250"/>
                <a:gd name="connsiteY10" fmla="*/ 187452 h 377952"/>
                <a:gd name="connsiteX11" fmla="*/ 190500 w 476250"/>
                <a:gd name="connsiteY11" fmla="*/ 187452 h 377952"/>
                <a:gd name="connsiteX12" fmla="*/ 190500 w 476250"/>
                <a:gd name="connsiteY12" fmla="*/ 377952 h 377952"/>
                <a:gd name="connsiteX13" fmla="*/ 0 w 476250"/>
                <a:gd name="connsiteY13" fmla="*/ 377952 h 377952"/>
                <a:gd name="connsiteX14" fmla="*/ 0 w 476250"/>
                <a:gd name="connsiteY14" fmla="*/ 187452 h 377952"/>
                <a:gd name="connsiteX15" fmla="*/ 190500 w 476250"/>
                <a:gd name="connsiteY15" fmla="*/ 0 h 37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6250" h="377952">
                  <a:moveTo>
                    <a:pt x="476250" y="0"/>
                  </a:moveTo>
                  <a:lnTo>
                    <a:pt x="476250" y="81725"/>
                  </a:lnTo>
                  <a:cubicBezTo>
                    <a:pt x="417383" y="81753"/>
                    <a:pt x="369219" y="128608"/>
                    <a:pt x="367570" y="187452"/>
                  </a:cubicBezTo>
                  <a:lnTo>
                    <a:pt x="476250" y="187452"/>
                  </a:lnTo>
                  <a:lnTo>
                    <a:pt x="476250" y="377952"/>
                  </a:lnTo>
                  <a:lnTo>
                    <a:pt x="285750" y="377952"/>
                  </a:lnTo>
                  <a:lnTo>
                    <a:pt x="285750" y="187452"/>
                  </a:lnTo>
                  <a:cubicBezTo>
                    <a:pt x="287415" y="83434"/>
                    <a:pt x="372219" y="-13"/>
                    <a:pt x="476250" y="0"/>
                  </a:cubicBezTo>
                  <a:close/>
                  <a:moveTo>
                    <a:pt x="190500" y="0"/>
                  </a:moveTo>
                  <a:lnTo>
                    <a:pt x="190500" y="81725"/>
                  </a:lnTo>
                  <a:cubicBezTo>
                    <a:pt x="131633" y="81753"/>
                    <a:pt x="83469" y="128608"/>
                    <a:pt x="81820" y="187452"/>
                  </a:cubicBezTo>
                  <a:lnTo>
                    <a:pt x="190500" y="187452"/>
                  </a:lnTo>
                  <a:lnTo>
                    <a:pt x="190500" y="377952"/>
                  </a:lnTo>
                  <a:lnTo>
                    <a:pt x="0" y="377952"/>
                  </a:lnTo>
                  <a:lnTo>
                    <a:pt x="0" y="187452"/>
                  </a:lnTo>
                  <a:cubicBezTo>
                    <a:pt x="1665" y="83434"/>
                    <a:pt x="86469" y="-13"/>
                    <a:pt x="190500" y="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B1E20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endParaRPr>
            </a:p>
          </p:txBody>
        </p:sp>
      </p:grpSp>
      <p:sp>
        <p:nvSpPr>
          <p:cNvPr id="65" name="TextBox 64">
            <a:extLst>
              <a:ext uri="{FF2B5EF4-FFF2-40B4-BE49-F238E27FC236}">
                <a16:creationId xmlns:a16="http://schemas.microsoft.com/office/drawing/2014/main" id="{98386E81-E08A-95F7-A62A-9EECA8764C02}"/>
              </a:ext>
            </a:extLst>
          </p:cNvPr>
          <p:cNvSpPr txBox="1"/>
          <p:nvPr/>
        </p:nvSpPr>
        <p:spPr>
          <a:xfrm>
            <a:off x="3021594" y="950583"/>
            <a:ext cx="1018227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ClrTx/>
              <a:defRPr/>
            </a:pPr>
            <a:r>
              <a:rPr lang="en-US" sz="1300" b="1" kern="1200">
                <a:gradFill flip="none" rotWithShape="1">
                  <a:gsLst>
                    <a:gs pos="0">
                      <a:schemeClr val="bg2">
                        <a:lumMod val="75000"/>
                      </a:schemeClr>
                    </a:gs>
                    <a:gs pos="100000">
                      <a:schemeClr val="bg2">
                        <a:lumMod val="25000"/>
                      </a:schemeClr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PERSONA: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687CC908-B24B-E1D0-16AC-122209AD332F}"/>
              </a:ext>
            </a:extLst>
          </p:cNvPr>
          <p:cNvSpPr txBox="1"/>
          <p:nvPr/>
        </p:nvSpPr>
        <p:spPr>
          <a:xfrm>
            <a:off x="7274560" y="2600943"/>
            <a:ext cx="1334020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300" b="1">
                <a:gradFill flip="none" rotWithShape="1">
                  <a:gsLst>
                    <a:gs pos="0">
                      <a:schemeClr val="accent3"/>
                    </a:gs>
                    <a:gs pos="100000">
                      <a:schemeClr val="accent4"/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latin typeface="Century Gothic" panose="020B0502020202020204" pitchFamily="34" charset="0"/>
              </a:defRPr>
            </a:lvl1pPr>
          </a:lstStyle>
          <a:p>
            <a:pPr>
              <a:buClrTx/>
              <a:defRPr/>
            </a:pPr>
            <a:r>
              <a:rPr lang="en-US" kern="1200">
                <a:gradFill flip="none" rotWithShape="1">
                  <a:gsLst>
                    <a:gs pos="0">
                      <a:schemeClr val="bg2">
                        <a:lumMod val="75000"/>
                      </a:schemeClr>
                    </a:gs>
                    <a:gs pos="100000">
                      <a:schemeClr val="bg2">
                        <a:lumMod val="25000"/>
                      </a:schemeClr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CHALLENGES: 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C5DE3B5C-0043-327F-C560-65B219142580}"/>
              </a:ext>
            </a:extLst>
          </p:cNvPr>
          <p:cNvSpPr txBox="1"/>
          <p:nvPr/>
        </p:nvSpPr>
        <p:spPr>
          <a:xfrm>
            <a:off x="7274560" y="4697359"/>
            <a:ext cx="2767104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300" b="1">
                <a:gradFill flip="none" rotWithShape="1">
                  <a:gsLst>
                    <a:gs pos="0">
                      <a:schemeClr val="accent3"/>
                    </a:gs>
                    <a:gs pos="100000">
                      <a:schemeClr val="accent4"/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latin typeface="Century Gothic" panose="020B0502020202020204" pitchFamily="34" charset="0"/>
              </a:defRPr>
            </a:lvl1pPr>
          </a:lstStyle>
          <a:p>
            <a:pPr lvl="0">
              <a:buClrTx/>
              <a:defRPr/>
            </a:pPr>
            <a:r>
              <a:rPr lang="en-US" kern="1200">
                <a:gradFill flip="none" rotWithShape="1">
                  <a:gsLst>
                    <a:gs pos="0">
                      <a:schemeClr val="bg2">
                        <a:lumMod val="75000"/>
                      </a:schemeClr>
                    </a:gs>
                    <a:gs pos="100000">
                      <a:schemeClr val="bg2">
                        <a:lumMod val="25000"/>
                      </a:schemeClr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WORKFLOW &amp; FEATURES USED: </a:t>
            </a:r>
          </a:p>
        </p:txBody>
      </p:sp>
      <p:sp>
        <p:nvSpPr>
          <p:cNvPr id="73" name="Picture Placeholder 1">
            <a:extLst>
              <a:ext uri="{FF2B5EF4-FFF2-40B4-BE49-F238E27FC236}">
                <a16:creationId xmlns:a16="http://schemas.microsoft.com/office/drawing/2014/main" id="{E4DC4D4C-369A-E7C4-ADFD-E93BD716F85B}"/>
              </a:ext>
            </a:extLst>
          </p:cNvPr>
          <p:cNvSpPr txBox="1">
            <a:spLocks/>
          </p:cNvSpPr>
          <p:nvPr/>
        </p:nvSpPr>
        <p:spPr>
          <a:xfrm>
            <a:off x="7274560" y="2729979"/>
            <a:ext cx="4724550" cy="1927320"/>
          </a:xfrm>
          <a:prstGeom prst="rect">
            <a:avLst/>
          </a:prstGeom>
          <a:noFill/>
        </p:spPr>
        <p:txBody>
          <a:bodyPr lIns="182880" tIns="137160" rIns="182880" bIns="45720" anchor="t"/>
          <a:lstStyle/>
          <a:p>
            <a:pPr marL="171450" indent="-171450">
              <a:lnSpc>
                <a:spcPct val="150000"/>
              </a:lnSpc>
              <a:buFont typeface="Calibri"/>
              <a:buChar char="-"/>
            </a:pPr>
            <a:r>
              <a:rPr lang="en-GB" sz="1050">
                <a:solidFill>
                  <a:srgbClr val="374151"/>
                </a:solidFill>
                <a:latin typeface="Poppins"/>
                <a:cs typeface="Poppins"/>
              </a:rPr>
              <a:t>Siloed communication: change requests between client and production teams</a:t>
            </a:r>
          </a:p>
          <a:p>
            <a:pPr marL="171450" indent="-171450">
              <a:lnSpc>
                <a:spcPct val="150000"/>
              </a:lnSpc>
              <a:buFont typeface="Calibri"/>
              <a:buChar char="-"/>
            </a:pPr>
            <a:r>
              <a:rPr lang="en-GB" sz="1050">
                <a:solidFill>
                  <a:srgbClr val="374151"/>
                </a:solidFill>
                <a:latin typeface="Poppins"/>
                <a:cs typeface="Poppins"/>
              </a:rPr>
              <a:t>Large volumes &amp; multiple locations to track the same information</a:t>
            </a:r>
          </a:p>
          <a:p>
            <a:pPr marL="171450" indent="-171450">
              <a:lnSpc>
                <a:spcPct val="150000"/>
              </a:lnSpc>
              <a:buFont typeface="Calibri"/>
              <a:buChar char="-"/>
            </a:pPr>
            <a:r>
              <a:rPr lang="en-GB" sz="1050">
                <a:solidFill>
                  <a:srgbClr val="374151"/>
                </a:solidFill>
                <a:latin typeface="Poppins"/>
                <a:cs typeface="Poppins"/>
              </a:rPr>
              <a:t>Multiple stakeholders in projects</a:t>
            </a:r>
          </a:p>
        </p:txBody>
      </p:sp>
      <p:sp>
        <p:nvSpPr>
          <p:cNvPr id="74" name="Picture Placeholder 1">
            <a:extLst>
              <a:ext uri="{FF2B5EF4-FFF2-40B4-BE49-F238E27FC236}">
                <a16:creationId xmlns:a16="http://schemas.microsoft.com/office/drawing/2014/main" id="{A94924CD-9093-B385-3CB2-EB5D01E02154}"/>
              </a:ext>
            </a:extLst>
          </p:cNvPr>
          <p:cNvSpPr txBox="1">
            <a:spLocks/>
          </p:cNvSpPr>
          <p:nvPr/>
        </p:nvSpPr>
        <p:spPr>
          <a:xfrm>
            <a:off x="7274560" y="4865872"/>
            <a:ext cx="4724550" cy="1272492"/>
          </a:xfrm>
          <a:prstGeom prst="rect">
            <a:avLst/>
          </a:prstGeom>
          <a:noFill/>
        </p:spPr>
        <p:txBody>
          <a:bodyPr lIns="182880" tIns="137160" rIns="182880" bIns="45720" anchor="t"/>
          <a:lstStyle/>
          <a:p>
            <a:pPr marL="171450" indent="-171450">
              <a:lnSpc>
                <a:spcPct val="150000"/>
              </a:lnSpc>
              <a:buFont typeface="Calibri"/>
              <a:buChar char="-"/>
            </a:pPr>
            <a:r>
              <a:rPr lang="en-GB" sz="1050">
                <a:solidFill>
                  <a:srgbClr val="374151"/>
                </a:solidFill>
                <a:latin typeface="Poppins"/>
                <a:cs typeface="Poppins"/>
              </a:rPr>
              <a:t>Scheduling event data: Event Name, Date, Location, Team</a:t>
            </a:r>
          </a:p>
          <a:p>
            <a:pPr marL="171450" indent="-171450">
              <a:lnSpc>
                <a:spcPct val="150000"/>
              </a:lnSpc>
              <a:buFont typeface="Calibri"/>
              <a:buChar char="-"/>
            </a:pPr>
            <a:r>
              <a:rPr lang="en-GB" sz="1050">
                <a:solidFill>
                  <a:srgbClr val="374151"/>
                </a:solidFill>
                <a:latin typeface="Poppins"/>
                <a:cs typeface="Poppins"/>
              </a:rPr>
              <a:t>Assigning events to Field Marketing system</a:t>
            </a:r>
          </a:p>
          <a:p>
            <a:pPr marL="171450" indent="-171450">
              <a:lnSpc>
                <a:spcPct val="150000"/>
              </a:lnSpc>
              <a:buFont typeface="Calibri"/>
              <a:buChar char="-"/>
            </a:pPr>
            <a:r>
              <a:rPr lang="en-GB" sz="1050">
                <a:solidFill>
                  <a:srgbClr val="374151"/>
                </a:solidFill>
                <a:latin typeface="Poppins"/>
                <a:cs typeface="Poppins"/>
              </a:rPr>
              <a:t>QR Code generation within UXP</a:t>
            </a:r>
          </a:p>
          <a:p>
            <a:pPr marL="171450" indent="-171450">
              <a:lnSpc>
                <a:spcPct val="150000"/>
              </a:lnSpc>
              <a:buFont typeface="Calibri"/>
              <a:buChar char="-"/>
            </a:pPr>
            <a:r>
              <a:rPr lang="en-GB" sz="1050">
                <a:solidFill>
                  <a:srgbClr val="374151"/>
                </a:solidFill>
                <a:latin typeface="Poppins"/>
                <a:cs typeface="Poppins"/>
              </a:rPr>
              <a:t>Calendar and Event list within UXP</a:t>
            </a:r>
          </a:p>
        </p:txBody>
      </p:sp>
    </p:spTree>
    <p:extLst>
      <p:ext uri="{BB962C8B-B14F-4D97-AF65-F5344CB8AC3E}">
        <p14:creationId xmlns:p14="http://schemas.microsoft.com/office/powerpoint/2010/main" val="6653667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1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5" grpId="0"/>
      <p:bldP spid="27" grpId="0"/>
      <p:bldP spid="28" grpId="0"/>
      <p:bldP spid="65" grpId="0"/>
      <p:bldP spid="68" grpId="0"/>
      <p:bldP spid="69" grpId="0"/>
      <p:bldP spid="73" grpId="0"/>
      <p:bldP spid="74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B1578D3-1471-D737-306E-429340987A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>
                <a:latin typeface="Arial Black"/>
              </a:rPr>
              <a:t>OUR GOALS / WHY </a:t>
            </a:r>
            <a:r>
              <a:rPr lang="en-GB">
                <a:latin typeface="Arial Black"/>
              </a:rPr>
              <a:t>UXP</a:t>
            </a:r>
            <a:r>
              <a:rPr lang="en-GB" sz="2800">
                <a:latin typeface="Arial Black"/>
              </a:rPr>
              <a:t>?</a:t>
            </a:r>
            <a:r>
              <a:rPr lang="en-GB">
                <a:latin typeface="Arial Black"/>
              </a:rPr>
              <a:t> 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D3328E-29BB-1893-2DBC-0AA85E6EF4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32</a:t>
            </a:fld>
            <a:endParaRPr lang="en-US"/>
          </a:p>
        </p:txBody>
      </p:sp>
      <p:sp>
        <p:nvSpPr>
          <p:cNvPr id="8" name="Oval 81">
            <a:extLst>
              <a:ext uri="{FF2B5EF4-FFF2-40B4-BE49-F238E27FC236}">
                <a16:creationId xmlns:a16="http://schemas.microsoft.com/office/drawing/2014/main" id="{30FA63A7-AF4D-E95C-0AAB-39F0F3E47590}"/>
              </a:ext>
            </a:extLst>
          </p:cNvPr>
          <p:cNvSpPr/>
          <p:nvPr/>
        </p:nvSpPr>
        <p:spPr>
          <a:xfrm>
            <a:off x="905453" y="1185938"/>
            <a:ext cx="3086008" cy="5176761"/>
          </a:xfrm>
          <a:prstGeom prst="roundRect">
            <a:avLst>
              <a:gd name="adj" fmla="val 6540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latin typeface="+mj-lt"/>
            </a:endParaRPr>
          </a:p>
        </p:txBody>
      </p:sp>
      <p:sp>
        <p:nvSpPr>
          <p:cNvPr id="9" name="Oval 81">
            <a:extLst>
              <a:ext uri="{FF2B5EF4-FFF2-40B4-BE49-F238E27FC236}">
                <a16:creationId xmlns:a16="http://schemas.microsoft.com/office/drawing/2014/main" id="{61C9D4E8-D005-A993-6D37-8C694D8B8B66}"/>
              </a:ext>
            </a:extLst>
          </p:cNvPr>
          <p:cNvSpPr/>
          <p:nvPr/>
        </p:nvSpPr>
        <p:spPr>
          <a:xfrm>
            <a:off x="4552996" y="1185938"/>
            <a:ext cx="3086008" cy="5176761"/>
          </a:xfrm>
          <a:prstGeom prst="roundRect">
            <a:avLst>
              <a:gd name="adj" fmla="val 8040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latin typeface="+mj-lt"/>
            </a:endParaRPr>
          </a:p>
        </p:txBody>
      </p:sp>
      <p:sp>
        <p:nvSpPr>
          <p:cNvPr id="10" name="Oval 81">
            <a:extLst>
              <a:ext uri="{FF2B5EF4-FFF2-40B4-BE49-F238E27FC236}">
                <a16:creationId xmlns:a16="http://schemas.microsoft.com/office/drawing/2014/main" id="{8FE273E0-47A9-F419-5DD9-BDAA148FA6EF}"/>
              </a:ext>
            </a:extLst>
          </p:cNvPr>
          <p:cNvSpPr/>
          <p:nvPr/>
        </p:nvSpPr>
        <p:spPr>
          <a:xfrm>
            <a:off x="8200539" y="1185938"/>
            <a:ext cx="3086008" cy="5176761"/>
          </a:xfrm>
          <a:prstGeom prst="roundRect">
            <a:avLst>
              <a:gd name="adj" fmla="val 6915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latin typeface="+mj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DAEC4F9-A202-E6AC-3E85-3D98AB6732C5}"/>
              </a:ext>
            </a:extLst>
          </p:cNvPr>
          <p:cNvSpPr txBox="1"/>
          <p:nvPr/>
        </p:nvSpPr>
        <p:spPr>
          <a:xfrm>
            <a:off x="1649292" y="5957566"/>
            <a:ext cx="1595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spc="300">
                <a:solidFill>
                  <a:schemeClr val="tx1">
                    <a:alpha val="84000"/>
                  </a:schemeClr>
                </a:solidFill>
                <a:latin typeface="+mj-lt"/>
              </a:rPr>
              <a:t>PRODUC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48E0C64-C0BE-BF81-1701-2AB611F1EECF}"/>
              </a:ext>
            </a:extLst>
          </p:cNvPr>
          <p:cNvSpPr txBox="1"/>
          <p:nvPr/>
        </p:nvSpPr>
        <p:spPr>
          <a:xfrm>
            <a:off x="5729362" y="5957566"/>
            <a:ext cx="7232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spc="300">
                <a:solidFill>
                  <a:schemeClr val="tx1">
                    <a:alpha val="84000"/>
                  </a:schemeClr>
                </a:solidFill>
                <a:latin typeface="+mj-lt"/>
              </a:rPr>
              <a:t>AIM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29F60C-3C95-5FC0-8131-B48F0742DFD3}"/>
              </a:ext>
            </a:extLst>
          </p:cNvPr>
          <p:cNvSpPr txBox="1"/>
          <p:nvPr/>
        </p:nvSpPr>
        <p:spPr>
          <a:xfrm>
            <a:off x="8977928" y="5957566"/>
            <a:ext cx="15440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spc="300">
                <a:solidFill>
                  <a:schemeClr val="tx1">
                    <a:alpha val="84000"/>
                  </a:schemeClr>
                </a:solidFill>
                <a:latin typeface="+mj-lt"/>
              </a:rPr>
              <a:t>EXECUT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7B76271-96C2-CB58-68FE-BD984606E0A0}"/>
              </a:ext>
            </a:extLst>
          </p:cNvPr>
          <p:cNvSpPr txBox="1"/>
          <p:nvPr/>
        </p:nvSpPr>
        <p:spPr>
          <a:xfrm>
            <a:off x="992951" y="2262869"/>
            <a:ext cx="2896048" cy="192764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1050">
                <a:latin typeface="Poppins" panose="00000500000000000000" pitchFamily="2" charset="0"/>
                <a:ea typeface="Open Sans"/>
                <a:cs typeface="Poppins" panose="00000500000000000000" pitchFamily="2" charset="0"/>
              </a:rPr>
              <a:t>Momentum will implement a unified data solution that integrates data from disparate sources into a single view, providing accurate answers to critical questions. </a:t>
            </a:r>
          </a:p>
          <a:p>
            <a:endParaRPr lang="en-GB" sz="1050">
              <a:latin typeface="Poppins" panose="00000500000000000000" pitchFamily="2" charset="0"/>
              <a:ea typeface="+mn-lt"/>
              <a:cs typeface="Poppins" panose="00000500000000000000" pitchFamily="2" charset="0"/>
            </a:endParaRPr>
          </a:p>
          <a:p>
            <a:r>
              <a:rPr lang="en-GB" sz="1050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A standardized and repeatable process </a:t>
            </a:r>
            <a:r>
              <a:rPr lang="en-GB" sz="1050" b="1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is required </a:t>
            </a:r>
            <a:r>
              <a:rPr lang="en-GB" sz="1050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for scheduling and </a:t>
            </a:r>
            <a:r>
              <a:rPr lang="en-GB" sz="1050" b="1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recording activation data</a:t>
            </a:r>
            <a:r>
              <a:rPr lang="en-GB" sz="1050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.</a:t>
            </a:r>
            <a:endParaRPr lang="en-GB" sz="105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endParaRPr lang="en-GB" sz="1050">
              <a:latin typeface="Poppins" panose="00000500000000000000" pitchFamily="2" charset="0"/>
              <a:ea typeface="Open Sans" panose="020B0606030504020204" pitchFamily="34" charset="0"/>
              <a:cs typeface="Poppins" panose="00000500000000000000" pitchFamily="2" charset="0"/>
            </a:endParaRPr>
          </a:p>
          <a:p>
            <a:pPr>
              <a:lnSpc>
                <a:spcPct val="150000"/>
              </a:lnSpc>
            </a:pPr>
            <a:endParaRPr lang="en-GB" sz="1050">
              <a:latin typeface="Poppins" panose="00000500000000000000" pitchFamily="2" charset="0"/>
              <a:ea typeface="Open Sans" panose="020B0606030504020204" pitchFamily="34" charset="0"/>
              <a:cs typeface="Poppins" panose="00000500000000000000" pitchFamily="2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18025A8-33B1-A4CF-5D82-DA9F22B57883}"/>
              </a:ext>
            </a:extLst>
          </p:cNvPr>
          <p:cNvSpPr txBox="1"/>
          <p:nvPr/>
        </p:nvSpPr>
        <p:spPr>
          <a:xfrm>
            <a:off x="4673167" y="2262869"/>
            <a:ext cx="2799710" cy="267765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1050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Create a application that will be to source of the through for all activations within momentum. </a:t>
            </a:r>
          </a:p>
          <a:p>
            <a:endParaRPr lang="en-GB" sz="1050">
              <a:latin typeface="Poppins" panose="00000500000000000000" pitchFamily="2" charset="0"/>
              <a:ea typeface="+mn-lt"/>
              <a:cs typeface="Poppins" panose="00000500000000000000" pitchFamily="2" charset="0"/>
            </a:endParaRPr>
          </a:p>
          <a:p>
            <a:r>
              <a:rPr lang="en-GB" sz="1050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Create a database that creates and stores all GUIDS and UIDs for both Campaigns and Events. </a:t>
            </a:r>
          </a:p>
          <a:p>
            <a:endParaRPr lang="en-GB" sz="1050">
              <a:latin typeface="Poppins" panose="00000500000000000000" pitchFamily="2" charset="0"/>
              <a:ea typeface="+mn-lt"/>
              <a:cs typeface="Poppins" panose="00000500000000000000" pitchFamily="2" charset="0"/>
            </a:endParaRPr>
          </a:p>
          <a:p>
            <a:r>
              <a:rPr lang="en-GB" sz="1050">
                <a:latin typeface="Poppins"/>
                <a:ea typeface="+mn-lt"/>
                <a:cs typeface="Poppins"/>
              </a:rPr>
              <a:t>UXP technology will: </a:t>
            </a:r>
            <a:endParaRPr lang="en-GB" sz="1050">
              <a:latin typeface="Poppins" panose="00000500000000000000" pitchFamily="2" charset="0"/>
              <a:ea typeface="+mn-lt"/>
              <a:cs typeface="Poppins" panose="00000500000000000000" pitchFamily="2" charset="0"/>
            </a:endParaRPr>
          </a:p>
          <a:p>
            <a:endParaRPr lang="en-GB" sz="1050">
              <a:latin typeface="Poppins" panose="00000500000000000000" pitchFamily="2" charset="0"/>
              <a:ea typeface="+mn-lt"/>
              <a:cs typeface="Poppins" panose="00000500000000000000" pitchFamily="2" charset="0"/>
            </a:endParaRPr>
          </a:p>
          <a:p>
            <a:pPr marL="171450" indent="-171450">
              <a:buFontTx/>
              <a:buChar char="-"/>
            </a:pPr>
            <a:r>
              <a:rPr lang="en-GB" sz="1050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Streamline data collection.</a:t>
            </a:r>
          </a:p>
          <a:p>
            <a:pPr marL="171450" indent="-171450">
              <a:buFontTx/>
              <a:buChar char="-"/>
            </a:pPr>
            <a:r>
              <a:rPr lang="en-GB" sz="1050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Provide a centralized location.</a:t>
            </a:r>
          </a:p>
          <a:p>
            <a:pPr marL="171450" indent="-171450">
              <a:buFontTx/>
              <a:buChar char="-"/>
            </a:pPr>
            <a:r>
              <a:rPr lang="en-GB" sz="1050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Create a standard method when joining to 3</a:t>
            </a:r>
            <a:r>
              <a:rPr lang="en-GB" sz="1050" baseline="30000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rd</a:t>
            </a:r>
            <a:r>
              <a:rPr lang="en-GB" sz="1050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 Party</a:t>
            </a:r>
          </a:p>
          <a:p>
            <a:r>
              <a:rPr lang="en-GB" sz="1050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 </a:t>
            </a:r>
            <a:br>
              <a:rPr lang="en-GB" sz="1050">
                <a:latin typeface="Poppins" panose="00000500000000000000" pitchFamily="2" charset="0"/>
                <a:ea typeface="Open Sans" panose="020B0606030504020204" pitchFamily="34" charset="0"/>
                <a:cs typeface="Poppins" panose="00000500000000000000" pitchFamily="2" charset="0"/>
              </a:rPr>
            </a:br>
            <a:endParaRPr lang="en-GB" sz="1050">
              <a:latin typeface="Poppins" panose="00000500000000000000" pitchFamily="2" charset="0"/>
              <a:ea typeface="Open Sans" panose="020B0606030504020204" pitchFamily="34" charset="0"/>
              <a:cs typeface="Poppins" panose="00000500000000000000" pitchFamily="2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67C2A1D-F4F6-EC39-4E6D-3D2520B72FF7}"/>
              </a:ext>
            </a:extLst>
          </p:cNvPr>
          <p:cNvSpPr/>
          <p:nvPr/>
        </p:nvSpPr>
        <p:spPr>
          <a:xfrm>
            <a:off x="905453" y="1333559"/>
            <a:ext cx="3086008" cy="477456"/>
          </a:xfrm>
          <a:prstGeom prst="rect">
            <a:avLst/>
          </a:prstGeom>
          <a:solidFill>
            <a:srgbClr val="EB2A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  <a:latin typeface="+mj-lt"/>
              </a:rPr>
              <a:t>VISION</a:t>
            </a:r>
          </a:p>
        </p:txBody>
      </p:sp>
      <p:sp>
        <p:nvSpPr>
          <p:cNvPr id="17" name="Oval 81">
            <a:extLst>
              <a:ext uri="{FF2B5EF4-FFF2-40B4-BE49-F238E27FC236}">
                <a16:creationId xmlns:a16="http://schemas.microsoft.com/office/drawing/2014/main" id="{8ECD7179-033F-7F59-6587-B2D22497A2FB}"/>
              </a:ext>
            </a:extLst>
          </p:cNvPr>
          <p:cNvSpPr/>
          <p:nvPr/>
        </p:nvSpPr>
        <p:spPr>
          <a:xfrm rot="966133">
            <a:off x="633661" y="1077313"/>
            <a:ext cx="971499" cy="989949"/>
          </a:xfrm>
          <a:custGeom>
            <a:avLst/>
            <a:gdLst>
              <a:gd name="connsiteX0" fmla="*/ 0 w 1181100"/>
              <a:gd name="connsiteY0" fmla="*/ 590550 h 1181100"/>
              <a:gd name="connsiteX1" fmla="*/ 590550 w 1181100"/>
              <a:gd name="connsiteY1" fmla="*/ 0 h 1181100"/>
              <a:gd name="connsiteX2" fmla="*/ 1181100 w 1181100"/>
              <a:gd name="connsiteY2" fmla="*/ 590550 h 1181100"/>
              <a:gd name="connsiteX3" fmla="*/ 590550 w 1181100"/>
              <a:gd name="connsiteY3" fmla="*/ 1181100 h 1181100"/>
              <a:gd name="connsiteX4" fmla="*/ 0 w 1181100"/>
              <a:gd name="connsiteY4" fmla="*/ 590550 h 1181100"/>
              <a:gd name="connsiteX0" fmla="*/ 0 w 1181100"/>
              <a:gd name="connsiteY0" fmla="*/ 599890 h 1190440"/>
              <a:gd name="connsiteX1" fmla="*/ 590550 w 1181100"/>
              <a:gd name="connsiteY1" fmla="*/ 9340 h 1190440"/>
              <a:gd name="connsiteX2" fmla="*/ 1181100 w 1181100"/>
              <a:gd name="connsiteY2" fmla="*/ 599890 h 1190440"/>
              <a:gd name="connsiteX3" fmla="*/ 590550 w 1181100"/>
              <a:gd name="connsiteY3" fmla="*/ 1190440 h 1190440"/>
              <a:gd name="connsiteX4" fmla="*/ 0 w 1181100"/>
              <a:gd name="connsiteY4" fmla="*/ 599890 h 1190440"/>
              <a:gd name="connsiteX0" fmla="*/ 0 w 1181100"/>
              <a:gd name="connsiteY0" fmla="*/ 599890 h 1190440"/>
              <a:gd name="connsiteX1" fmla="*/ 590550 w 1181100"/>
              <a:gd name="connsiteY1" fmla="*/ 9340 h 1190440"/>
              <a:gd name="connsiteX2" fmla="*/ 1181100 w 1181100"/>
              <a:gd name="connsiteY2" fmla="*/ 599890 h 1190440"/>
              <a:gd name="connsiteX3" fmla="*/ 590550 w 1181100"/>
              <a:gd name="connsiteY3" fmla="*/ 1190440 h 1190440"/>
              <a:gd name="connsiteX4" fmla="*/ 0 w 1181100"/>
              <a:gd name="connsiteY4" fmla="*/ 599890 h 1190440"/>
              <a:gd name="connsiteX0" fmla="*/ 0 w 1155700"/>
              <a:gd name="connsiteY0" fmla="*/ 591194 h 1182521"/>
              <a:gd name="connsiteX1" fmla="*/ 590550 w 1155700"/>
              <a:gd name="connsiteY1" fmla="*/ 644 h 1182521"/>
              <a:gd name="connsiteX2" fmla="*/ 1155700 w 1155700"/>
              <a:gd name="connsiteY2" fmla="*/ 686444 h 1182521"/>
              <a:gd name="connsiteX3" fmla="*/ 590550 w 1155700"/>
              <a:gd name="connsiteY3" fmla="*/ 1181744 h 1182521"/>
              <a:gd name="connsiteX4" fmla="*/ 0 w 1155700"/>
              <a:gd name="connsiteY4" fmla="*/ 591194 h 1182521"/>
              <a:gd name="connsiteX0" fmla="*/ 0 w 1155700"/>
              <a:gd name="connsiteY0" fmla="*/ 591194 h 1182660"/>
              <a:gd name="connsiteX1" fmla="*/ 590550 w 1155700"/>
              <a:gd name="connsiteY1" fmla="*/ 644 h 1182660"/>
              <a:gd name="connsiteX2" fmla="*/ 1155700 w 1155700"/>
              <a:gd name="connsiteY2" fmla="*/ 686444 h 1182660"/>
              <a:gd name="connsiteX3" fmla="*/ 590550 w 1155700"/>
              <a:gd name="connsiteY3" fmla="*/ 1181744 h 1182660"/>
              <a:gd name="connsiteX4" fmla="*/ 0 w 1155700"/>
              <a:gd name="connsiteY4" fmla="*/ 591194 h 1182660"/>
              <a:gd name="connsiteX0" fmla="*/ 0 w 1155700"/>
              <a:gd name="connsiteY0" fmla="*/ 590742 h 1181519"/>
              <a:gd name="connsiteX1" fmla="*/ 590550 w 1155700"/>
              <a:gd name="connsiteY1" fmla="*/ 192 h 1181519"/>
              <a:gd name="connsiteX2" fmla="*/ 1155700 w 1155700"/>
              <a:gd name="connsiteY2" fmla="*/ 641542 h 1181519"/>
              <a:gd name="connsiteX3" fmla="*/ 590550 w 1155700"/>
              <a:gd name="connsiteY3" fmla="*/ 1181292 h 1181519"/>
              <a:gd name="connsiteX4" fmla="*/ 0 w 1155700"/>
              <a:gd name="connsiteY4" fmla="*/ 590742 h 1181519"/>
              <a:gd name="connsiteX0" fmla="*/ 0 w 1193800"/>
              <a:gd name="connsiteY0" fmla="*/ 590742 h 1181519"/>
              <a:gd name="connsiteX1" fmla="*/ 628650 w 1193800"/>
              <a:gd name="connsiteY1" fmla="*/ 192 h 1181519"/>
              <a:gd name="connsiteX2" fmla="*/ 1193800 w 1193800"/>
              <a:gd name="connsiteY2" fmla="*/ 641542 h 1181519"/>
              <a:gd name="connsiteX3" fmla="*/ 628650 w 1193800"/>
              <a:gd name="connsiteY3" fmla="*/ 1181292 h 1181519"/>
              <a:gd name="connsiteX4" fmla="*/ 0 w 1193800"/>
              <a:gd name="connsiteY4" fmla="*/ 590742 h 1181519"/>
              <a:gd name="connsiteX0" fmla="*/ 103 w 1193903"/>
              <a:gd name="connsiteY0" fmla="*/ 622423 h 1213200"/>
              <a:gd name="connsiteX1" fmla="*/ 584303 w 1193903"/>
              <a:gd name="connsiteY1" fmla="*/ 123 h 1213200"/>
              <a:gd name="connsiteX2" fmla="*/ 1193903 w 1193903"/>
              <a:gd name="connsiteY2" fmla="*/ 673223 h 1213200"/>
              <a:gd name="connsiteX3" fmla="*/ 628753 w 1193903"/>
              <a:gd name="connsiteY3" fmla="*/ 1212973 h 1213200"/>
              <a:gd name="connsiteX4" fmla="*/ 103 w 1193903"/>
              <a:gd name="connsiteY4" fmla="*/ 622423 h 1213200"/>
              <a:gd name="connsiteX0" fmla="*/ 103 w 1193903"/>
              <a:gd name="connsiteY0" fmla="*/ 622423 h 1216728"/>
              <a:gd name="connsiteX1" fmla="*/ 584303 w 1193903"/>
              <a:gd name="connsiteY1" fmla="*/ 123 h 1216728"/>
              <a:gd name="connsiteX2" fmla="*/ 1193903 w 1193903"/>
              <a:gd name="connsiteY2" fmla="*/ 673223 h 1216728"/>
              <a:gd name="connsiteX3" fmla="*/ 628753 w 1193903"/>
              <a:gd name="connsiteY3" fmla="*/ 1212973 h 1216728"/>
              <a:gd name="connsiteX4" fmla="*/ 103 w 1193903"/>
              <a:gd name="connsiteY4" fmla="*/ 622423 h 1216728"/>
              <a:gd name="connsiteX0" fmla="*/ 250 w 1194050"/>
              <a:gd name="connsiteY0" fmla="*/ 622423 h 1216728"/>
              <a:gd name="connsiteX1" fmla="*/ 584450 w 1194050"/>
              <a:gd name="connsiteY1" fmla="*/ 123 h 1216728"/>
              <a:gd name="connsiteX2" fmla="*/ 1194050 w 1194050"/>
              <a:gd name="connsiteY2" fmla="*/ 673223 h 1216728"/>
              <a:gd name="connsiteX3" fmla="*/ 654300 w 1194050"/>
              <a:gd name="connsiteY3" fmla="*/ 1212973 h 1216728"/>
              <a:gd name="connsiteX4" fmla="*/ 250 w 1194050"/>
              <a:gd name="connsiteY4" fmla="*/ 622423 h 1216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4050" h="1216728">
                <a:moveTo>
                  <a:pt x="250" y="622423"/>
                </a:moveTo>
                <a:cubicBezTo>
                  <a:pt x="-11392" y="420281"/>
                  <a:pt x="385483" y="-8344"/>
                  <a:pt x="584450" y="123"/>
                </a:cubicBezTo>
                <a:cubicBezTo>
                  <a:pt x="783417" y="8590"/>
                  <a:pt x="1194050" y="347071"/>
                  <a:pt x="1194050" y="673223"/>
                </a:cubicBezTo>
                <a:cubicBezTo>
                  <a:pt x="1086100" y="993025"/>
                  <a:pt x="853267" y="1164290"/>
                  <a:pt x="654300" y="1212973"/>
                </a:cubicBezTo>
                <a:cubicBezTo>
                  <a:pt x="455333" y="1261656"/>
                  <a:pt x="11892" y="824565"/>
                  <a:pt x="250" y="62242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2921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latin typeface="+mj-lt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041B052-7987-CBCE-4585-FFE3A4BFD523}"/>
              </a:ext>
            </a:extLst>
          </p:cNvPr>
          <p:cNvSpPr txBox="1"/>
          <p:nvPr/>
        </p:nvSpPr>
        <p:spPr>
          <a:xfrm>
            <a:off x="756971" y="1433788"/>
            <a:ext cx="72487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b="1" spc="3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WHAT</a:t>
            </a:r>
          </a:p>
        </p:txBody>
      </p:sp>
      <p:sp>
        <p:nvSpPr>
          <p:cNvPr id="19" name="Oval 81">
            <a:extLst>
              <a:ext uri="{FF2B5EF4-FFF2-40B4-BE49-F238E27FC236}">
                <a16:creationId xmlns:a16="http://schemas.microsoft.com/office/drawing/2014/main" id="{DCBCBB77-6A08-E4B6-01EB-8844E2A63C67}"/>
              </a:ext>
            </a:extLst>
          </p:cNvPr>
          <p:cNvSpPr/>
          <p:nvPr/>
        </p:nvSpPr>
        <p:spPr>
          <a:xfrm rot="966133">
            <a:off x="539875" y="1043930"/>
            <a:ext cx="971499" cy="989949"/>
          </a:xfrm>
          <a:custGeom>
            <a:avLst/>
            <a:gdLst>
              <a:gd name="connsiteX0" fmla="*/ 0 w 1181100"/>
              <a:gd name="connsiteY0" fmla="*/ 590550 h 1181100"/>
              <a:gd name="connsiteX1" fmla="*/ 590550 w 1181100"/>
              <a:gd name="connsiteY1" fmla="*/ 0 h 1181100"/>
              <a:gd name="connsiteX2" fmla="*/ 1181100 w 1181100"/>
              <a:gd name="connsiteY2" fmla="*/ 590550 h 1181100"/>
              <a:gd name="connsiteX3" fmla="*/ 590550 w 1181100"/>
              <a:gd name="connsiteY3" fmla="*/ 1181100 h 1181100"/>
              <a:gd name="connsiteX4" fmla="*/ 0 w 1181100"/>
              <a:gd name="connsiteY4" fmla="*/ 590550 h 1181100"/>
              <a:gd name="connsiteX0" fmla="*/ 0 w 1181100"/>
              <a:gd name="connsiteY0" fmla="*/ 599890 h 1190440"/>
              <a:gd name="connsiteX1" fmla="*/ 590550 w 1181100"/>
              <a:gd name="connsiteY1" fmla="*/ 9340 h 1190440"/>
              <a:gd name="connsiteX2" fmla="*/ 1181100 w 1181100"/>
              <a:gd name="connsiteY2" fmla="*/ 599890 h 1190440"/>
              <a:gd name="connsiteX3" fmla="*/ 590550 w 1181100"/>
              <a:gd name="connsiteY3" fmla="*/ 1190440 h 1190440"/>
              <a:gd name="connsiteX4" fmla="*/ 0 w 1181100"/>
              <a:gd name="connsiteY4" fmla="*/ 599890 h 1190440"/>
              <a:gd name="connsiteX0" fmla="*/ 0 w 1181100"/>
              <a:gd name="connsiteY0" fmla="*/ 599890 h 1190440"/>
              <a:gd name="connsiteX1" fmla="*/ 590550 w 1181100"/>
              <a:gd name="connsiteY1" fmla="*/ 9340 h 1190440"/>
              <a:gd name="connsiteX2" fmla="*/ 1181100 w 1181100"/>
              <a:gd name="connsiteY2" fmla="*/ 599890 h 1190440"/>
              <a:gd name="connsiteX3" fmla="*/ 590550 w 1181100"/>
              <a:gd name="connsiteY3" fmla="*/ 1190440 h 1190440"/>
              <a:gd name="connsiteX4" fmla="*/ 0 w 1181100"/>
              <a:gd name="connsiteY4" fmla="*/ 599890 h 1190440"/>
              <a:gd name="connsiteX0" fmla="*/ 0 w 1155700"/>
              <a:gd name="connsiteY0" fmla="*/ 591194 h 1182521"/>
              <a:gd name="connsiteX1" fmla="*/ 590550 w 1155700"/>
              <a:gd name="connsiteY1" fmla="*/ 644 h 1182521"/>
              <a:gd name="connsiteX2" fmla="*/ 1155700 w 1155700"/>
              <a:gd name="connsiteY2" fmla="*/ 686444 h 1182521"/>
              <a:gd name="connsiteX3" fmla="*/ 590550 w 1155700"/>
              <a:gd name="connsiteY3" fmla="*/ 1181744 h 1182521"/>
              <a:gd name="connsiteX4" fmla="*/ 0 w 1155700"/>
              <a:gd name="connsiteY4" fmla="*/ 591194 h 1182521"/>
              <a:gd name="connsiteX0" fmla="*/ 0 w 1155700"/>
              <a:gd name="connsiteY0" fmla="*/ 591194 h 1182660"/>
              <a:gd name="connsiteX1" fmla="*/ 590550 w 1155700"/>
              <a:gd name="connsiteY1" fmla="*/ 644 h 1182660"/>
              <a:gd name="connsiteX2" fmla="*/ 1155700 w 1155700"/>
              <a:gd name="connsiteY2" fmla="*/ 686444 h 1182660"/>
              <a:gd name="connsiteX3" fmla="*/ 590550 w 1155700"/>
              <a:gd name="connsiteY3" fmla="*/ 1181744 h 1182660"/>
              <a:gd name="connsiteX4" fmla="*/ 0 w 1155700"/>
              <a:gd name="connsiteY4" fmla="*/ 591194 h 1182660"/>
              <a:gd name="connsiteX0" fmla="*/ 0 w 1155700"/>
              <a:gd name="connsiteY0" fmla="*/ 590742 h 1181519"/>
              <a:gd name="connsiteX1" fmla="*/ 590550 w 1155700"/>
              <a:gd name="connsiteY1" fmla="*/ 192 h 1181519"/>
              <a:gd name="connsiteX2" fmla="*/ 1155700 w 1155700"/>
              <a:gd name="connsiteY2" fmla="*/ 641542 h 1181519"/>
              <a:gd name="connsiteX3" fmla="*/ 590550 w 1155700"/>
              <a:gd name="connsiteY3" fmla="*/ 1181292 h 1181519"/>
              <a:gd name="connsiteX4" fmla="*/ 0 w 1155700"/>
              <a:gd name="connsiteY4" fmla="*/ 590742 h 1181519"/>
              <a:gd name="connsiteX0" fmla="*/ 0 w 1193800"/>
              <a:gd name="connsiteY0" fmla="*/ 590742 h 1181519"/>
              <a:gd name="connsiteX1" fmla="*/ 628650 w 1193800"/>
              <a:gd name="connsiteY1" fmla="*/ 192 h 1181519"/>
              <a:gd name="connsiteX2" fmla="*/ 1193800 w 1193800"/>
              <a:gd name="connsiteY2" fmla="*/ 641542 h 1181519"/>
              <a:gd name="connsiteX3" fmla="*/ 628650 w 1193800"/>
              <a:gd name="connsiteY3" fmla="*/ 1181292 h 1181519"/>
              <a:gd name="connsiteX4" fmla="*/ 0 w 1193800"/>
              <a:gd name="connsiteY4" fmla="*/ 590742 h 1181519"/>
              <a:gd name="connsiteX0" fmla="*/ 103 w 1193903"/>
              <a:gd name="connsiteY0" fmla="*/ 622423 h 1213200"/>
              <a:gd name="connsiteX1" fmla="*/ 584303 w 1193903"/>
              <a:gd name="connsiteY1" fmla="*/ 123 h 1213200"/>
              <a:gd name="connsiteX2" fmla="*/ 1193903 w 1193903"/>
              <a:gd name="connsiteY2" fmla="*/ 673223 h 1213200"/>
              <a:gd name="connsiteX3" fmla="*/ 628753 w 1193903"/>
              <a:gd name="connsiteY3" fmla="*/ 1212973 h 1213200"/>
              <a:gd name="connsiteX4" fmla="*/ 103 w 1193903"/>
              <a:gd name="connsiteY4" fmla="*/ 622423 h 1213200"/>
              <a:gd name="connsiteX0" fmla="*/ 103 w 1193903"/>
              <a:gd name="connsiteY0" fmla="*/ 622423 h 1216728"/>
              <a:gd name="connsiteX1" fmla="*/ 584303 w 1193903"/>
              <a:gd name="connsiteY1" fmla="*/ 123 h 1216728"/>
              <a:gd name="connsiteX2" fmla="*/ 1193903 w 1193903"/>
              <a:gd name="connsiteY2" fmla="*/ 673223 h 1216728"/>
              <a:gd name="connsiteX3" fmla="*/ 628753 w 1193903"/>
              <a:gd name="connsiteY3" fmla="*/ 1212973 h 1216728"/>
              <a:gd name="connsiteX4" fmla="*/ 103 w 1193903"/>
              <a:gd name="connsiteY4" fmla="*/ 622423 h 1216728"/>
              <a:gd name="connsiteX0" fmla="*/ 250 w 1194050"/>
              <a:gd name="connsiteY0" fmla="*/ 622423 h 1216728"/>
              <a:gd name="connsiteX1" fmla="*/ 584450 w 1194050"/>
              <a:gd name="connsiteY1" fmla="*/ 123 h 1216728"/>
              <a:gd name="connsiteX2" fmla="*/ 1194050 w 1194050"/>
              <a:gd name="connsiteY2" fmla="*/ 673223 h 1216728"/>
              <a:gd name="connsiteX3" fmla="*/ 654300 w 1194050"/>
              <a:gd name="connsiteY3" fmla="*/ 1212973 h 1216728"/>
              <a:gd name="connsiteX4" fmla="*/ 250 w 1194050"/>
              <a:gd name="connsiteY4" fmla="*/ 622423 h 1216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4050" h="1216728">
                <a:moveTo>
                  <a:pt x="250" y="622423"/>
                </a:moveTo>
                <a:cubicBezTo>
                  <a:pt x="-11392" y="420281"/>
                  <a:pt x="385483" y="-8344"/>
                  <a:pt x="584450" y="123"/>
                </a:cubicBezTo>
                <a:cubicBezTo>
                  <a:pt x="783417" y="8590"/>
                  <a:pt x="1194050" y="347071"/>
                  <a:pt x="1194050" y="673223"/>
                </a:cubicBezTo>
                <a:cubicBezTo>
                  <a:pt x="1086100" y="993025"/>
                  <a:pt x="853267" y="1164290"/>
                  <a:pt x="654300" y="1212973"/>
                </a:cubicBezTo>
                <a:cubicBezTo>
                  <a:pt x="455333" y="1261656"/>
                  <a:pt x="11892" y="824565"/>
                  <a:pt x="250" y="622423"/>
                </a:cubicBezTo>
                <a:close/>
              </a:path>
            </a:pathLst>
          </a:custGeom>
          <a:noFill/>
          <a:ln w="31750">
            <a:solidFill>
              <a:schemeClr val="accent4"/>
            </a:solidFill>
          </a:ln>
          <a:effectLst>
            <a:outerShdw blurRad="2921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latin typeface="+mj-lt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FFFC2FB-7971-C4C2-890D-AF7BBBF7387E}"/>
              </a:ext>
            </a:extLst>
          </p:cNvPr>
          <p:cNvSpPr/>
          <p:nvPr/>
        </p:nvSpPr>
        <p:spPr>
          <a:xfrm>
            <a:off x="4962306" y="1342062"/>
            <a:ext cx="2676697" cy="4774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  <a:latin typeface="+mj-lt"/>
              </a:rPr>
              <a:t>BUSINESS STRATEGY</a:t>
            </a:r>
          </a:p>
        </p:txBody>
      </p:sp>
      <p:sp>
        <p:nvSpPr>
          <p:cNvPr id="21" name="Oval 81">
            <a:extLst>
              <a:ext uri="{FF2B5EF4-FFF2-40B4-BE49-F238E27FC236}">
                <a16:creationId xmlns:a16="http://schemas.microsoft.com/office/drawing/2014/main" id="{3EF84728-2B10-7AA7-A9F2-8B3052582056}"/>
              </a:ext>
            </a:extLst>
          </p:cNvPr>
          <p:cNvSpPr/>
          <p:nvPr/>
        </p:nvSpPr>
        <p:spPr>
          <a:xfrm rot="966133">
            <a:off x="4281204" y="1085816"/>
            <a:ext cx="971499" cy="989949"/>
          </a:xfrm>
          <a:custGeom>
            <a:avLst/>
            <a:gdLst>
              <a:gd name="connsiteX0" fmla="*/ 0 w 1181100"/>
              <a:gd name="connsiteY0" fmla="*/ 590550 h 1181100"/>
              <a:gd name="connsiteX1" fmla="*/ 590550 w 1181100"/>
              <a:gd name="connsiteY1" fmla="*/ 0 h 1181100"/>
              <a:gd name="connsiteX2" fmla="*/ 1181100 w 1181100"/>
              <a:gd name="connsiteY2" fmla="*/ 590550 h 1181100"/>
              <a:gd name="connsiteX3" fmla="*/ 590550 w 1181100"/>
              <a:gd name="connsiteY3" fmla="*/ 1181100 h 1181100"/>
              <a:gd name="connsiteX4" fmla="*/ 0 w 1181100"/>
              <a:gd name="connsiteY4" fmla="*/ 590550 h 1181100"/>
              <a:gd name="connsiteX0" fmla="*/ 0 w 1181100"/>
              <a:gd name="connsiteY0" fmla="*/ 599890 h 1190440"/>
              <a:gd name="connsiteX1" fmla="*/ 590550 w 1181100"/>
              <a:gd name="connsiteY1" fmla="*/ 9340 h 1190440"/>
              <a:gd name="connsiteX2" fmla="*/ 1181100 w 1181100"/>
              <a:gd name="connsiteY2" fmla="*/ 599890 h 1190440"/>
              <a:gd name="connsiteX3" fmla="*/ 590550 w 1181100"/>
              <a:gd name="connsiteY3" fmla="*/ 1190440 h 1190440"/>
              <a:gd name="connsiteX4" fmla="*/ 0 w 1181100"/>
              <a:gd name="connsiteY4" fmla="*/ 599890 h 1190440"/>
              <a:gd name="connsiteX0" fmla="*/ 0 w 1181100"/>
              <a:gd name="connsiteY0" fmla="*/ 599890 h 1190440"/>
              <a:gd name="connsiteX1" fmla="*/ 590550 w 1181100"/>
              <a:gd name="connsiteY1" fmla="*/ 9340 h 1190440"/>
              <a:gd name="connsiteX2" fmla="*/ 1181100 w 1181100"/>
              <a:gd name="connsiteY2" fmla="*/ 599890 h 1190440"/>
              <a:gd name="connsiteX3" fmla="*/ 590550 w 1181100"/>
              <a:gd name="connsiteY3" fmla="*/ 1190440 h 1190440"/>
              <a:gd name="connsiteX4" fmla="*/ 0 w 1181100"/>
              <a:gd name="connsiteY4" fmla="*/ 599890 h 1190440"/>
              <a:gd name="connsiteX0" fmla="*/ 0 w 1155700"/>
              <a:gd name="connsiteY0" fmla="*/ 591194 h 1182521"/>
              <a:gd name="connsiteX1" fmla="*/ 590550 w 1155700"/>
              <a:gd name="connsiteY1" fmla="*/ 644 h 1182521"/>
              <a:gd name="connsiteX2" fmla="*/ 1155700 w 1155700"/>
              <a:gd name="connsiteY2" fmla="*/ 686444 h 1182521"/>
              <a:gd name="connsiteX3" fmla="*/ 590550 w 1155700"/>
              <a:gd name="connsiteY3" fmla="*/ 1181744 h 1182521"/>
              <a:gd name="connsiteX4" fmla="*/ 0 w 1155700"/>
              <a:gd name="connsiteY4" fmla="*/ 591194 h 1182521"/>
              <a:gd name="connsiteX0" fmla="*/ 0 w 1155700"/>
              <a:gd name="connsiteY0" fmla="*/ 591194 h 1182660"/>
              <a:gd name="connsiteX1" fmla="*/ 590550 w 1155700"/>
              <a:gd name="connsiteY1" fmla="*/ 644 h 1182660"/>
              <a:gd name="connsiteX2" fmla="*/ 1155700 w 1155700"/>
              <a:gd name="connsiteY2" fmla="*/ 686444 h 1182660"/>
              <a:gd name="connsiteX3" fmla="*/ 590550 w 1155700"/>
              <a:gd name="connsiteY3" fmla="*/ 1181744 h 1182660"/>
              <a:gd name="connsiteX4" fmla="*/ 0 w 1155700"/>
              <a:gd name="connsiteY4" fmla="*/ 591194 h 1182660"/>
              <a:gd name="connsiteX0" fmla="*/ 0 w 1155700"/>
              <a:gd name="connsiteY0" fmla="*/ 590742 h 1181519"/>
              <a:gd name="connsiteX1" fmla="*/ 590550 w 1155700"/>
              <a:gd name="connsiteY1" fmla="*/ 192 h 1181519"/>
              <a:gd name="connsiteX2" fmla="*/ 1155700 w 1155700"/>
              <a:gd name="connsiteY2" fmla="*/ 641542 h 1181519"/>
              <a:gd name="connsiteX3" fmla="*/ 590550 w 1155700"/>
              <a:gd name="connsiteY3" fmla="*/ 1181292 h 1181519"/>
              <a:gd name="connsiteX4" fmla="*/ 0 w 1155700"/>
              <a:gd name="connsiteY4" fmla="*/ 590742 h 1181519"/>
              <a:gd name="connsiteX0" fmla="*/ 0 w 1193800"/>
              <a:gd name="connsiteY0" fmla="*/ 590742 h 1181519"/>
              <a:gd name="connsiteX1" fmla="*/ 628650 w 1193800"/>
              <a:gd name="connsiteY1" fmla="*/ 192 h 1181519"/>
              <a:gd name="connsiteX2" fmla="*/ 1193800 w 1193800"/>
              <a:gd name="connsiteY2" fmla="*/ 641542 h 1181519"/>
              <a:gd name="connsiteX3" fmla="*/ 628650 w 1193800"/>
              <a:gd name="connsiteY3" fmla="*/ 1181292 h 1181519"/>
              <a:gd name="connsiteX4" fmla="*/ 0 w 1193800"/>
              <a:gd name="connsiteY4" fmla="*/ 590742 h 1181519"/>
              <a:gd name="connsiteX0" fmla="*/ 103 w 1193903"/>
              <a:gd name="connsiteY0" fmla="*/ 622423 h 1213200"/>
              <a:gd name="connsiteX1" fmla="*/ 584303 w 1193903"/>
              <a:gd name="connsiteY1" fmla="*/ 123 h 1213200"/>
              <a:gd name="connsiteX2" fmla="*/ 1193903 w 1193903"/>
              <a:gd name="connsiteY2" fmla="*/ 673223 h 1213200"/>
              <a:gd name="connsiteX3" fmla="*/ 628753 w 1193903"/>
              <a:gd name="connsiteY3" fmla="*/ 1212973 h 1213200"/>
              <a:gd name="connsiteX4" fmla="*/ 103 w 1193903"/>
              <a:gd name="connsiteY4" fmla="*/ 622423 h 1213200"/>
              <a:gd name="connsiteX0" fmla="*/ 103 w 1193903"/>
              <a:gd name="connsiteY0" fmla="*/ 622423 h 1216728"/>
              <a:gd name="connsiteX1" fmla="*/ 584303 w 1193903"/>
              <a:gd name="connsiteY1" fmla="*/ 123 h 1216728"/>
              <a:gd name="connsiteX2" fmla="*/ 1193903 w 1193903"/>
              <a:gd name="connsiteY2" fmla="*/ 673223 h 1216728"/>
              <a:gd name="connsiteX3" fmla="*/ 628753 w 1193903"/>
              <a:gd name="connsiteY3" fmla="*/ 1212973 h 1216728"/>
              <a:gd name="connsiteX4" fmla="*/ 103 w 1193903"/>
              <a:gd name="connsiteY4" fmla="*/ 622423 h 1216728"/>
              <a:gd name="connsiteX0" fmla="*/ 250 w 1194050"/>
              <a:gd name="connsiteY0" fmla="*/ 622423 h 1216728"/>
              <a:gd name="connsiteX1" fmla="*/ 584450 w 1194050"/>
              <a:gd name="connsiteY1" fmla="*/ 123 h 1216728"/>
              <a:gd name="connsiteX2" fmla="*/ 1194050 w 1194050"/>
              <a:gd name="connsiteY2" fmla="*/ 673223 h 1216728"/>
              <a:gd name="connsiteX3" fmla="*/ 654300 w 1194050"/>
              <a:gd name="connsiteY3" fmla="*/ 1212973 h 1216728"/>
              <a:gd name="connsiteX4" fmla="*/ 250 w 1194050"/>
              <a:gd name="connsiteY4" fmla="*/ 622423 h 1216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4050" h="1216728">
                <a:moveTo>
                  <a:pt x="250" y="622423"/>
                </a:moveTo>
                <a:cubicBezTo>
                  <a:pt x="-11392" y="420281"/>
                  <a:pt x="385483" y="-8344"/>
                  <a:pt x="584450" y="123"/>
                </a:cubicBezTo>
                <a:cubicBezTo>
                  <a:pt x="783417" y="8590"/>
                  <a:pt x="1194050" y="347071"/>
                  <a:pt x="1194050" y="673223"/>
                </a:cubicBezTo>
                <a:cubicBezTo>
                  <a:pt x="1086100" y="993025"/>
                  <a:pt x="853267" y="1164290"/>
                  <a:pt x="654300" y="1212973"/>
                </a:cubicBezTo>
                <a:cubicBezTo>
                  <a:pt x="455333" y="1261656"/>
                  <a:pt x="11892" y="824565"/>
                  <a:pt x="250" y="62242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2921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latin typeface="+mj-lt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03C49BB-377D-368C-1577-EBE9FCE0A050}"/>
              </a:ext>
            </a:extLst>
          </p:cNvPr>
          <p:cNvSpPr txBox="1"/>
          <p:nvPr/>
        </p:nvSpPr>
        <p:spPr>
          <a:xfrm>
            <a:off x="4467031" y="1442291"/>
            <a:ext cx="59984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b="1" spc="3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WHY</a:t>
            </a:r>
          </a:p>
        </p:txBody>
      </p:sp>
      <p:sp>
        <p:nvSpPr>
          <p:cNvPr id="23" name="Oval 81">
            <a:extLst>
              <a:ext uri="{FF2B5EF4-FFF2-40B4-BE49-F238E27FC236}">
                <a16:creationId xmlns:a16="http://schemas.microsoft.com/office/drawing/2014/main" id="{492C9C3F-E7A0-9264-ECB4-A01CD8A664C7}"/>
              </a:ext>
            </a:extLst>
          </p:cNvPr>
          <p:cNvSpPr/>
          <p:nvPr/>
        </p:nvSpPr>
        <p:spPr>
          <a:xfrm rot="966133">
            <a:off x="4187418" y="1052433"/>
            <a:ext cx="971499" cy="989949"/>
          </a:xfrm>
          <a:custGeom>
            <a:avLst/>
            <a:gdLst>
              <a:gd name="connsiteX0" fmla="*/ 0 w 1181100"/>
              <a:gd name="connsiteY0" fmla="*/ 590550 h 1181100"/>
              <a:gd name="connsiteX1" fmla="*/ 590550 w 1181100"/>
              <a:gd name="connsiteY1" fmla="*/ 0 h 1181100"/>
              <a:gd name="connsiteX2" fmla="*/ 1181100 w 1181100"/>
              <a:gd name="connsiteY2" fmla="*/ 590550 h 1181100"/>
              <a:gd name="connsiteX3" fmla="*/ 590550 w 1181100"/>
              <a:gd name="connsiteY3" fmla="*/ 1181100 h 1181100"/>
              <a:gd name="connsiteX4" fmla="*/ 0 w 1181100"/>
              <a:gd name="connsiteY4" fmla="*/ 590550 h 1181100"/>
              <a:gd name="connsiteX0" fmla="*/ 0 w 1181100"/>
              <a:gd name="connsiteY0" fmla="*/ 599890 h 1190440"/>
              <a:gd name="connsiteX1" fmla="*/ 590550 w 1181100"/>
              <a:gd name="connsiteY1" fmla="*/ 9340 h 1190440"/>
              <a:gd name="connsiteX2" fmla="*/ 1181100 w 1181100"/>
              <a:gd name="connsiteY2" fmla="*/ 599890 h 1190440"/>
              <a:gd name="connsiteX3" fmla="*/ 590550 w 1181100"/>
              <a:gd name="connsiteY3" fmla="*/ 1190440 h 1190440"/>
              <a:gd name="connsiteX4" fmla="*/ 0 w 1181100"/>
              <a:gd name="connsiteY4" fmla="*/ 599890 h 1190440"/>
              <a:gd name="connsiteX0" fmla="*/ 0 w 1181100"/>
              <a:gd name="connsiteY0" fmla="*/ 599890 h 1190440"/>
              <a:gd name="connsiteX1" fmla="*/ 590550 w 1181100"/>
              <a:gd name="connsiteY1" fmla="*/ 9340 h 1190440"/>
              <a:gd name="connsiteX2" fmla="*/ 1181100 w 1181100"/>
              <a:gd name="connsiteY2" fmla="*/ 599890 h 1190440"/>
              <a:gd name="connsiteX3" fmla="*/ 590550 w 1181100"/>
              <a:gd name="connsiteY3" fmla="*/ 1190440 h 1190440"/>
              <a:gd name="connsiteX4" fmla="*/ 0 w 1181100"/>
              <a:gd name="connsiteY4" fmla="*/ 599890 h 1190440"/>
              <a:gd name="connsiteX0" fmla="*/ 0 w 1155700"/>
              <a:gd name="connsiteY0" fmla="*/ 591194 h 1182521"/>
              <a:gd name="connsiteX1" fmla="*/ 590550 w 1155700"/>
              <a:gd name="connsiteY1" fmla="*/ 644 h 1182521"/>
              <a:gd name="connsiteX2" fmla="*/ 1155700 w 1155700"/>
              <a:gd name="connsiteY2" fmla="*/ 686444 h 1182521"/>
              <a:gd name="connsiteX3" fmla="*/ 590550 w 1155700"/>
              <a:gd name="connsiteY3" fmla="*/ 1181744 h 1182521"/>
              <a:gd name="connsiteX4" fmla="*/ 0 w 1155700"/>
              <a:gd name="connsiteY4" fmla="*/ 591194 h 1182521"/>
              <a:gd name="connsiteX0" fmla="*/ 0 w 1155700"/>
              <a:gd name="connsiteY0" fmla="*/ 591194 h 1182660"/>
              <a:gd name="connsiteX1" fmla="*/ 590550 w 1155700"/>
              <a:gd name="connsiteY1" fmla="*/ 644 h 1182660"/>
              <a:gd name="connsiteX2" fmla="*/ 1155700 w 1155700"/>
              <a:gd name="connsiteY2" fmla="*/ 686444 h 1182660"/>
              <a:gd name="connsiteX3" fmla="*/ 590550 w 1155700"/>
              <a:gd name="connsiteY3" fmla="*/ 1181744 h 1182660"/>
              <a:gd name="connsiteX4" fmla="*/ 0 w 1155700"/>
              <a:gd name="connsiteY4" fmla="*/ 591194 h 1182660"/>
              <a:gd name="connsiteX0" fmla="*/ 0 w 1155700"/>
              <a:gd name="connsiteY0" fmla="*/ 590742 h 1181519"/>
              <a:gd name="connsiteX1" fmla="*/ 590550 w 1155700"/>
              <a:gd name="connsiteY1" fmla="*/ 192 h 1181519"/>
              <a:gd name="connsiteX2" fmla="*/ 1155700 w 1155700"/>
              <a:gd name="connsiteY2" fmla="*/ 641542 h 1181519"/>
              <a:gd name="connsiteX3" fmla="*/ 590550 w 1155700"/>
              <a:gd name="connsiteY3" fmla="*/ 1181292 h 1181519"/>
              <a:gd name="connsiteX4" fmla="*/ 0 w 1155700"/>
              <a:gd name="connsiteY4" fmla="*/ 590742 h 1181519"/>
              <a:gd name="connsiteX0" fmla="*/ 0 w 1193800"/>
              <a:gd name="connsiteY0" fmla="*/ 590742 h 1181519"/>
              <a:gd name="connsiteX1" fmla="*/ 628650 w 1193800"/>
              <a:gd name="connsiteY1" fmla="*/ 192 h 1181519"/>
              <a:gd name="connsiteX2" fmla="*/ 1193800 w 1193800"/>
              <a:gd name="connsiteY2" fmla="*/ 641542 h 1181519"/>
              <a:gd name="connsiteX3" fmla="*/ 628650 w 1193800"/>
              <a:gd name="connsiteY3" fmla="*/ 1181292 h 1181519"/>
              <a:gd name="connsiteX4" fmla="*/ 0 w 1193800"/>
              <a:gd name="connsiteY4" fmla="*/ 590742 h 1181519"/>
              <a:gd name="connsiteX0" fmla="*/ 103 w 1193903"/>
              <a:gd name="connsiteY0" fmla="*/ 622423 h 1213200"/>
              <a:gd name="connsiteX1" fmla="*/ 584303 w 1193903"/>
              <a:gd name="connsiteY1" fmla="*/ 123 h 1213200"/>
              <a:gd name="connsiteX2" fmla="*/ 1193903 w 1193903"/>
              <a:gd name="connsiteY2" fmla="*/ 673223 h 1213200"/>
              <a:gd name="connsiteX3" fmla="*/ 628753 w 1193903"/>
              <a:gd name="connsiteY3" fmla="*/ 1212973 h 1213200"/>
              <a:gd name="connsiteX4" fmla="*/ 103 w 1193903"/>
              <a:gd name="connsiteY4" fmla="*/ 622423 h 1213200"/>
              <a:gd name="connsiteX0" fmla="*/ 103 w 1193903"/>
              <a:gd name="connsiteY0" fmla="*/ 622423 h 1216728"/>
              <a:gd name="connsiteX1" fmla="*/ 584303 w 1193903"/>
              <a:gd name="connsiteY1" fmla="*/ 123 h 1216728"/>
              <a:gd name="connsiteX2" fmla="*/ 1193903 w 1193903"/>
              <a:gd name="connsiteY2" fmla="*/ 673223 h 1216728"/>
              <a:gd name="connsiteX3" fmla="*/ 628753 w 1193903"/>
              <a:gd name="connsiteY3" fmla="*/ 1212973 h 1216728"/>
              <a:gd name="connsiteX4" fmla="*/ 103 w 1193903"/>
              <a:gd name="connsiteY4" fmla="*/ 622423 h 1216728"/>
              <a:gd name="connsiteX0" fmla="*/ 250 w 1194050"/>
              <a:gd name="connsiteY0" fmla="*/ 622423 h 1216728"/>
              <a:gd name="connsiteX1" fmla="*/ 584450 w 1194050"/>
              <a:gd name="connsiteY1" fmla="*/ 123 h 1216728"/>
              <a:gd name="connsiteX2" fmla="*/ 1194050 w 1194050"/>
              <a:gd name="connsiteY2" fmla="*/ 673223 h 1216728"/>
              <a:gd name="connsiteX3" fmla="*/ 654300 w 1194050"/>
              <a:gd name="connsiteY3" fmla="*/ 1212973 h 1216728"/>
              <a:gd name="connsiteX4" fmla="*/ 250 w 1194050"/>
              <a:gd name="connsiteY4" fmla="*/ 622423 h 1216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4050" h="1216728">
                <a:moveTo>
                  <a:pt x="250" y="622423"/>
                </a:moveTo>
                <a:cubicBezTo>
                  <a:pt x="-11392" y="420281"/>
                  <a:pt x="385483" y="-8344"/>
                  <a:pt x="584450" y="123"/>
                </a:cubicBezTo>
                <a:cubicBezTo>
                  <a:pt x="783417" y="8590"/>
                  <a:pt x="1194050" y="347071"/>
                  <a:pt x="1194050" y="673223"/>
                </a:cubicBezTo>
                <a:cubicBezTo>
                  <a:pt x="1086100" y="993025"/>
                  <a:pt x="853267" y="1164290"/>
                  <a:pt x="654300" y="1212973"/>
                </a:cubicBezTo>
                <a:cubicBezTo>
                  <a:pt x="455333" y="1261656"/>
                  <a:pt x="11892" y="824565"/>
                  <a:pt x="250" y="622423"/>
                </a:cubicBezTo>
                <a:close/>
              </a:path>
            </a:pathLst>
          </a:custGeom>
          <a:noFill/>
          <a:ln w="31750">
            <a:solidFill>
              <a:schemeClr val="accent4"/>
            </a:solidFill>
          </a:ln>
          <a:effectLst>
            <a:outerShdw blurRad="2921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latin typeface="+mj-lt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6B28138-5971-3D4C-5659-DD8458F02B87}"/>
              </a:ext>
            </a:extLst>
          </p:cNvPr>
          <p:cNvSpPr/>
          <p:nvPr/>
        </p:nvSpPr>
        <p:spPr>
          <a:xfrm>
            <a:off x="8200539" y="1342062"/>
            <a:ext cx="3086008" cy="4774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  <a:latin typeface="+mj-lt"/>
              </a:rPr>
              <a:t>STEPS</a:t>
            </a:r>
          </a:p>
        </p:txBody>
      </p:sp>
      <p:sp>
        <p:nvSpPr>
          <p:cNvPr id="25" name="Oval 81">
            <a:extLst>
              <a:ext uri="{FF2B5EF4-FFF2-40B4-BE49-F238E27FC236}">
                <a16:creationId xmlns:a16="http://schemas.microsoft.com/office/drawing/2014/main" id="{A2C04300-6757-E064-536C-632B3EEC65AF}"/>
              </a:ext>
            </a:extLst>
          </p:cNvPr>
          <p:cNvSpPr/>
          <p:nvPr/>
        </p:nvSpPr>
        <p:spPr>
          <a:xfrm rot="966133">
            <a:off x="7928747" y="1085816"/>
            <a:ext cx="971499" cy="989949"/>
          </a:xfrm>
          <a:custGeom>
            <a:avLst/>
            <a:gdLst>
              <a:gd name="connsiteX0" fmla="*/ 0 w 1181100"/>
              <a:gd name="connsiteY0" fmla="*/ 590550 h 1181100"/>
              <a:gd name="connsiteX1" fmla="*/ 590550 w 1181100"/>
              <a:gd name="connsiteY1" fmla="*/ 0 h 1181100"/>
              <a:gd name="connsiteX2" fmla="*/ 1181100 w 1181100"/>
              <a:gd name="connsiteY2" fmla="*/ 590550 h 1181100"/>
              <a:gd name="connsiteX3" fmla="*/ 590550 w 1181100"/>
              <a:gd name="connsiteY3" fmla="*/ 1181100 h 1181100"/>
              <a:gd name="connsiteX4" fmla="*/ 0 w 1181100"/>
              <a:gd name="connsiteY4" fmla="*/ 590550 h 1181100"/>
              <a:gd name="connsiteX0" fmla="*/ 0 w 1181100"/>
              <a:gd name="connsiteY0" fmla="*/ 599890 h 1190440"/>
              <a:gd name="connsiteX1" fmla="*/ 590550 w 1181100"/>
              <a:gd name="connsiteY1" fmla="*/ 9340 h 1190440"/>
              <a:gd name="connsiteX2" fmla="*/ 1181100 w 1181100"/>
              <a:gd name="connsiteY2" fmla="*/ 599890 h 1190440"/>
              <a:gd name="connsiteX3" fmla="*/ 590550 w 1181100"/>
              <a:gd name="connsiteY3" fmla="*/ 1190440 h 1190440"/>
              <a:gd name="connsiteX4" fmla="*/ 0 w 1181100"/>
              <a:gd name="connsiteY4" fmla="*/ 599890 h 1190440"/>
              <a:gd name="connsiteX0" fmla="*/ 0 w 1181100"/>
              <a:gd name="connsiteY0" fmla="*/ 599890 h 1190440"/>
              <a:gd name="connsiteX1" fmla="*/ 590550 w 1181100"/>
              <a:gd name="connsiteY1" fmla="*/ 9340 h 1190440"/>
              <a:gd name="connsiteX2" fmla="*/ 1181100 w 1181100"/>
              <a:gd name="connsiteY2" fmla="*/ 599890 h 1190440"/>
              <a:gd name="connsiteX3" fmla="*/ 590550 w 1181100"/>
              <a:gd name="connsiteY3" fmla="*/ 1190440 h 1190440"/>
              <a:gd name="connsiteX4" fmla="*/ 0 w 1181100"/>
              <a:gd name="connsiteY4" fmla="*/ 599890 h 1190440"/>
              <a:gd name="connsiteX0" fmla="*/ 0 w 1155700"/>
              <a:gd name="connsiteY0" fmla="*/ 591194 h 1182521"/>
              <a:gd name="connsiteX1" fmla="*/ 590550 w 1155700"/>
              <a:gd name="connsiteY1" fmla="*/ 644 h 1182521"/>
              <a:gd name="connsiteX2" fmla="*/ 1155700 w 1155700"/>
              <a:gd name="connsiteY2" fmla="*/ 686444 h 1182521"/>
              <a:gd name="connsiteX3" fmla="*/ 590550 w 1155700"/>
              <a:gd name="connsiteY3" fmla="*/ 1181744 h 1182521"/>
              <a:gd name="connsiteX4" fmla="*/ 0 w 1155700"/>
              <a:gd name="connsiteY4" fmla="*/ 591194 h 1182521"/>
              <a:gd name="connsiteX0" fmla="*/ 0 w 1155700"/>
              <a:gd name="connsiteY0" fmla="*/ 591194 h 1182660"/>
              <a:gd name="connsiteX1" fmla="*/ 590550 w 1155700"/>
              <a:gd name="connsiteY1" fmla="*/ 644 h 1182660"/>
              <a:gd name="connsiteX2" fmla="*/ 1155700 w 1155700"/>
              <a:gd name="connsiteY2" fmla="*/ 686444 h 1182660"/>
              <a:gd name="connsiteX3" fmla="*/ 590550 w 1155700"/>
              <a:gd name="connsiteY3" fmla="*/ 1181744 h 1182660"/>
              <a:gd name="connsiteX4" fmla="*/ 0 w 1155700"/>
              <a:gd name="connsiteY4" fmla="*/ 591194 h 1182660"/>
              <a:gd name="connsiteX0" fmla="*/ 0 w 1155700"/>
              <a:gd name="connsiteY0" fmla="*/ 590742 h 1181519"/>
              <a:gd name="connsiteX1" fmla="*/ 590550 w 1155700"/>
              <a:gd name="connsiteY1" fmla="*/ 192 h 1181519"/>
              <a:gd name="connsiteX2" fmla="*/ 1155700 w 1155700"/>
              <a:gd name="connsiteY2" fmla="*/ 641542 h 1181519"/>
              <a:gd name="connsiteX3" fmla="*/ 590550 w 1155700"/>
              <a:gd name="connsiteY3" fmla="*/ 1181292 h 1181519"/>
              <a:gd name="connsiteX4" fmla="*/ 0 w 1155700"/>
              <a:gd name="connsiteY4" fmla="*/ 590742 h 1181519"/>
              <a:gd name="connsiteX0" fmla="*/ 0 w 1193800"/>
              <a:gd name="connsiteY0" fmla="*/ 590742 h 1181519"/>
              <a:gd name="connsiteX1" fmla="*/ 628650 w 1193800"/>
              <a:gd name="connsiteY1" fmla="*/ 192 h 1181519"/>
              <a:gd name="connsiteX2" fmla="*/ 1193800 w 1193800"/>
              <a:gd name="connsiteY2" fmla="*/ 641542 h 1181519"/>
              <a:gd name="connsiteX3" fmla="*/ 628650 w 1193800"/>
              <a:gd name="connsiteY3" fmla="*/ 1181292 h 1181519"/>
              <a:gd name="connsiteX4" fmla="*/ 0 w 1193800"/>
              <a:gd name="connsiteY4" fmla="*/ 590742 h 1181519"/>
              <a:gd name="connsiteX0" fmla="*/ 103 w 1193903"/>
              <a:gd name="connsiteY0" fmla="*/ 622423 h 1213200"/>
              <a:gd name="connsiteX1" fmla="*/ 584303 w 1193903"/>
              <a:gd name="connsiteY1" fmla="*/ 123 h 1213200"/>
              <a:gd name="connsiteX2" fmla="*/ 1193903 w 1193903"/>
              <a:gd name="connsiteY2" fmla="*/ 673223 h 1213200"/>
              <a:gd name="connsiteX3" fmla="*/ 628753 w 1193903"/>
              <a:gd name="connsiteY3" fmla="*/ 1212973 h 1213200"/>
              <a:gd name="connsiteX4" fmla="*/ 103 w 1193903"/>
              <a:gd name="connsiteY4" fmla="*/ 622423 h 1213200"/>
              <a:gd name="connsiteX0" fmla="*/ 103 w 1193903"/>
              <a:gd name="connsiteY0" fmla="*/ 622423 h 1216728"/>
              <a:gd name="connsiteX1" fmla="*/ 584303 w 1193903"/>
              <a:gd name="connsiteY1" fmla="*/ 123 h 1216728"/>
              <a:gd name="connsiteX2" fmla="*/ 1193903 w 1193903"/>
              <a:gd name="connsiteY2" fmla="*/ 673223 h 1216728"/>
              <a:gd name="connsiteX3" fmla="*/ 628753 w 1193903"/>
              <a:gd name="connsiteY3" fmla="*/ 1212973 h 1216728"/>
              <a:gd name="connsiteX4" fmla="*/ 103 w 1193903"/>
              <a:gd name="connsiteY4" fmla="*/ 622423 h 1216728"/>
              <a:gd name="connsiteX0" fmla="*/ 250 w 1194050"/>
              <a:gd name="connsiteY0" fmla="*/ 622423 h 1216728"/>
              <a:gd name="connsiteX1" fmla="*/ 584450 w 1194050"/>
              <a:gd name="connsiteY1" fmla="*/ 123 h 1216728"/>
              <a:gd name="connsiteX2" fmla="*/ 1194050 w 1194050"/>
              <a:gd name="connsiteY2" fmla="*/ 673223 h 1216728"/>
              <a:gd name="connsiteX3" fmla="*/ 654300 w 1194050"/>
              <a:gd name="connsiteY3" fmla="*/ 1212973 h 1216728"/>
              <a:gd name="connsiteX4" fmla="*/ 250 w 1194050"/>
              <a:gd name="connsiteY4" fmla="*/ 622423 h 1216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4050" h="1216728">
                <a:moveTo>
                  <a:pt x="250" y="622423"/>
                </a:moveTo>
                <a:cubicBezTo>
                  <a:pt x="-11392" y="420281"/>
                  <a:pt x="385483" y="-8344"/>
                  <a:pt x="584450" y="123"/>
                </a:cubicBezTo>
                <a:cubicBezTo>
                  <a:pt x="783417" y="8590"/>
                  <a:pt x="1194050" y="347071"/>
                  <a:pt x="1194050" y="673223"/>
                </a:cubicBezTo>
                <a:cubicBezTo>
                  <a:pt x="1086100" y="993025"/>
                  <a:pt x="853267" y="1164290"/>
                  <a:pt x="654300" y="1212973"/>
                </a:cubicBezTo>
                <a:cubicBezTo>
                  <a:pt x="455333" y="1261656"/>
                  <a:pt x="11892" y="824565"/>
                  <a:pt x="250" y="62242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2921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latin typeface="+mj-lt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04FC197-07B0-7BE0-565F-7EFD1536B015}"/>
              </a:ext>
            </a:extLst>
          </p:cNvPr>
          <p:cNvSpPr txBox="1"/>
          <p:nvPr/>
        </p:nvSpPr>
        <p:spPr>
          <a:xfrm>
            <a:off x="8107361" y="1442291"/>
            <a:ext cx="61427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b="1" spc="3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HOW</a:t>
            </a:r>
          </a:p>
        </p:txBody>
      </p:sp>
      <p:sp>
        <p:nvSpPr>
          <p:cNvPr id="27" name="Oval 81">
            <a:extLst>
              <a:ext uri="{FF2B5EF4-FFF2-40B4-BE49-F238E27FC236}">
                <a16:creationId xmlns:a16="http://schemas.microsoft.com/office/drawing/2014/main" id="{67C17DA0-6D89-6AFE-E6FA-B57D3FB273F2}"/>
              </a:ext>
            </a:extLst>
          </p:cNvPr>
          <p:cNvSpPr/>
          <p:nvPr/>
        </p:nvSpPr>
        <p:spPr>
          <a:xfrm rot="966133">
            <a:off x="7834961" y="1052433"/>
            <a:ext cx="971499" cy="989949"/>
          </a:xfrm>
          <a:custGeom>
            <a:avLst/>
            <a:gdLst>
              <a:gd name="connsiteX0" fmla="*/ 0 w 1181100"/>
              <a:gd name="connsiteY0" fmla="*/ 590550 h 1181100"/>
              <a:gd name="connsiteX1" fmla="*/ 590550 w 1181100"/>
              <a:gd name="connsiteY1" fmla="*/ 0 h 1181100"/>
              <a:gd name="connsiteX2" fmla="*/ 1181100 w 1181100"/>
              <a:gd name="connsiteY2" fmla="*/ 590550 h 1181100"/>
              <a:gd name="connsiteX3" fmla="*/ 590550 w 1181100"/>
              <a:gd name="connsiteY3" fmla="*/ 1181100 h 1181100"/>
              <a:gd name="connsiteX4" fmla="*/ 0 w 1181100"/>
              <a:gd name="connsiteY4" fmla="*/ 590550 h 1181100"/>
              <a:gd name="connsiteX0" fmla="*/ 0 w 1181100"/>
              <a:gd name="connsiteY0" fmla="*/ 599890 h 1190440"/>
              <a:gd name="connsiteX1" fmla="*/ 590550 w 1181100"/>
              <a:gd name="connsiteY1" fmla="*/ 9340 h 1190440"/>
              <a:gd name="connsiteX2" fmla="*/ 1181100 w 1181100"/>
              <a:gd name="connsiteY2" fmla="*/ 599890 h 1190440"/>
              <a:gd name="connsiteX3" fmla="*/ 590550 w 1181100"/>
              <a:gd name="connsiteY3" fmla="*/ 1190440 h 1190440"/>
              <a:gd name="connsiteX4" fmla="*/ 0 w 1181100"/>
              <a:gd name="connsiteY4" fmla="*/ 599890 h 1190440"/>
              <a:gd name="connsiteX0" fmla="*/ 0 w 1181100"/>
              <a:gd name="connsiteY0" fmla="*/ 599890 h 1190440"/>
              <a:gd name="connsiteX1" fmla="*/ 590550 w 1181100"/>
              <a:gd name="connsiteY1" fmla="*/ 9340 h 1190440"/>
              <a:gd name="connsiteX2" fmla="*/ 1181100 w 1181100"/>
              <a:gd name="connsiteY2" fmla="*/ 599890 h 1190440"/>
              <a:gd name="connsiteX3" fmla="*/ 590550 w 1181100"/>
              <a:gd name="connsiteY3" fmla="*/ 1190440 h 1190440"/>
              <a:gd name="connsiteX4" fmla="*/ 0 w 1181100"/>
              <a:gd name="connsiteY4" fmla="*/ 599890 h 1190440"/>
              <a:gd name="connsiteX0" fmla="*/ 0 w 1155700"/>
              <a:gd name="connsiteY0" fmla="*/ 591194 h 1182521"/>
              <a:gd name="connsiteX1" fmla="*/ 590550 w 1155700"/>
              <a:gd name="connsiteY1" fmla="*/ 644 h 1182521"/>
              <a:gd name="connsiteX2" fmla="*/ 1155700 w 1155700"/>
              <a:gd name="connsiteY2" fmla="*/ 686444 h 1182521"/>
              <a:gd name="connsiteX3" fmla="*/ 590550 w 1155700"/>
              <a:gd name="connsiteY3" fmla="*/ 1181744 h 1182521"/>
              <a:gd name="connsiteX4" fmla="*/ 0 w 1155700"/>
              <a:gd name="connsiteY4" fmla="*/ 591194 h 1182521"/>
              <a:gd name="connsiteX0" fmla="*/ 0 w 1155700"/>
              <a:gd name="connsiteY0" fmla="*/ 591194 h 1182660"/>
              <a:gd name="connsiteX1" fmla="*/ 590550 w 1155700"/>
              <a:gd name="connsiteY1" fmla="*/ 644 h 1182660"/>
              <a:gd name="connsiteX2" fmla="*/ 1155700 w 1155700"/>
              <a:gd name="connsiteY2" fmla="*/ 686444 h 1182660"/>
              <a:gd name="connsiteX3" fmla="*/ 590550 w 1155700"/>
              <a:gd name="connsiteY3" fmla="*/ 1181744 h 1182660"/>
              <a:gd name="connsiteX4" fmla="*/ 0 w 1155700"/>
              <a:gd name="connsiteY4" fmla="*/ 591194 h 1182660"/>
              <a:gd name="connsiteX0" fmla="*/ 0 w 1155700"/>
              <a:gd name="connsiteY0" fmla="*/ 590742 h 1181519"/>
              <a:gd name="connsiteX1" fmla="*/ 590550 w 1155700"/>
              <a:gd name="connsiteY1" fmla="*/ 192 h 1181519"/>
              <a:gd name="connsiteX2" fmla="*/ 1155700 w 1155700"/>
              <a:gd name="connsiteY2" fmla="*/ 641542 h 1181519"/>
              <a:gd name="connsiteX3" fmla="*/ 590550 w 1155700"/>
              <a:gd name="connsiteY3" fmla="*/ 1181292 h 1181519"/>
              <a:gd name="connsiteX4" fmla="*/ 0 w 1155700"/>
              <a:gd name="connsiteY4" fmla="*/ 590742 h 1181519"/>
              <a:gd name="connsiteX0" fmla="*/ 0 w 1193800"/>
              <a:gd name="connsiteY0" fmla="*/ 590742 h 1181519"/>
              <a:gd name="connsiteX1" fmla="*/ 628650 w 1193800"/>
              <a:gd name="connsiteY1" fmla="*/ 192 h 1181519"/>
              <a:gd name="connsiteX2" fmla="*/ 1193800 w 1193800"/>
              <a:gd name="connsiteY2" fmla="*/ 641542 h 1181519"/>
              <a:gd name="connsiteX3" fmla="*/ 628650 w 1193800"/>
              <a:gd name="connsiteY3" fmla="*/ 1181292 h 1181519"/>
              <a:gd name="connsiteX4" fmla="*/ 0 w 1193800"/>
              <a:gd name="connsiteY4" fmla="*/ 590742 h 1181519"/>
              <a:gd name="connsiteX0" fmla="*/ 103 w 1193903"/>
              <a:gd name="connsiteY0" fmla="*/ 622423 h 1213200"/>
              <a:gd name="connsiteX1" fmla="*/ 584303 w 1193903"/>
              <a:gd name="connsiteY1" fmla="*/ 123 h 1213200"/>
              <a:gd name="connsiteX2" fmla="*/ 1193903 w 1193903"/>
              <a:gd name="connsiteY2" fmla="*/ 673223 h 1213200"/>
              <a:gd name="connsiteX3" fmla="*/ 628753 w 1193903"/>
              <a:gd name="connsiteY3" fmla="*/ 1212973 h 1213200"/>
              <a:gd name="connsiteX4" fmla="*/ 103 w 1193903"/>
              <a:gd name="connsiteY4" fmla="*/ 622423 h 1213200"/>
              <a:gd name="connsiteX0" fmla="*/ 103 w 1193903"/>
              <a:gd name="connsiteY0" fmla="*/ 622423 h 1216728"/>
              <a:gd name="connsiteX1" fmla="*/ 584303 w 1193903"/>
              <a:gd name="connsiteY1" fmla="*/ 123 h 1216728"/>
              <a:gd name="connsiteX2" fmla="*/ 1193903 w 1193903"/>
              <a:gd name="connsiteY2" fmla="*/ 673223 h 1216728"/>
              <a:gd name="connsiteX3" fmla="*/ 628753 w 1193903"/>
              <a:gd name="connsiteY3" fmla="*/ 1212973 h 1216728"/>
              <a:gd name="connsiteX4" fmla="*/ 103 w 1193903"/>
              <a:gd name="connsiteY4" fmla="*/ 622423 h 1216728"/>
              <a:gd name="connsiteX0" fmla="*/ 250 w 1194050"/>
              <a:gd name="connsiteY0" fmla="*/ 622423 h 1216728"/>
              <a:gd name="connsiteX1" fmla="*/ 584450 w 1194050"/>
              <a:gd name="connsiteY1" fmla="*/ 123 h 1216728"/>
              <a:gd name="connsiteX2" fmla="*/ 1194050 w 1194050"/>
              <a:gd name="connsiteY2" fmla="*/ 673223 h 1216728"/>
              <a:gd name="connsiteX3" fmla="*/ 654300 w 1194050"/>
              <a:gd name="connsiteY3" fmla="*/ 1212973 h 1216728"/>
              <a:gd name="connsiteX4" fmla="*/ 250 w 1194050"/>
              <a:gd name="connsiteY4" fmla="*/ 622423 h 1216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4050" h="1216728">
                <a:moveTo>
                  <a:pt x="250" y="622423"/>
                </a:moveTo>
                <a:cubicBezTo>
                  <a:pt x="-11392" y="420281"/>
                  <a:pt x="385483" y="-8344"/>
                  <a:pt x="584450" y="123"/>
                </a:cubicBezTo>
                <a:cubicBezTo>
                  <a:pt x="783417" y="8590"/>
                  <a:pt x="1194050" y="347071"/>
                  <a:pt x="1194050" y="673223"/>
                </a:cubicBezTo>
                <a:cubicBezTo>
                  <a:pt x="1086100" y="993025"/>
                  <a:pt x="853267" y="1164290"/>
                  <a:pt x="654300" y="1212973"/>
                </a:cubicBezTo>
                <a:cubicBezTo>
                  <a:pt x="455333" y="1261656"/>
                  <a:pt x="11892" y="824565"/>
                  <a:pt x="250" y="622423"/>
                </a:cubicBezTo>
                <a:close/>
              </a:path>
            </a:pathLst>
          </a:custGeom>
          <a:noFill/>
          <a:ln w="31750">
            <a:solidFill>
              <a:schemeClr val="accent4"/>
            </a:solidFill>
          </a:ln>
          <a:effectLst>
            <a:outerShdw blurRad="2921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latin typeface="+mj-lt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2A827C9-7D8B-EAB9-EDA2-42023555BC32}"/>
              </a:ext>
            </a:extLst>
          </p:cNvPr>
          <p:cNvSpPr txBox="1"/>
          <p:nvPr/>
        </p:nvSpPr>
        <p:spPr>
          <a:xfrm>
            <a:off x="8288036" y="2262869"/>
            <a:ext cx="2911013" cy="322030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GB" sz="1050" b="1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 Data process discovery</a:t>
            </a:r>
          </a:p>
          <a:p>
            <a:pPr>
              <a:buFont typeface="Arial" panose="020B0604020202020204" pitchFamily="34" charset="0"/>
              <a:buChar char="•"/>
            </a:pPr>
            <a:endParaRPr lang="en-GB" sz="1050" b="1">
              <a:latin typeface="Poppins" panose="00000500000000000000" pitchFamily="2" charset="0"/>
              <a:ea typeface="+mn-lt"/>
              <a:cs typeface="Poppins" panose="00000500000000000000" pitchFamily="2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GB" sz="1050" b="1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 Developing an application </a:t>
            </a:r>
            <a:r>
              <a:rPr lang="en-GB" sz="1050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that can gather and unify data, allowing users to edit all data</a:t>
            </a:r>
          </a:p>
          <a:p>
            <a:pPr>
              <a:buFont typeface="Arial" panose="020B0604020202020204" pitchFamily="34" charset="0"/>
              <a:buChar char="•"/>
            </a:pPr>
            <a:endParaRPr lang="en-GB" sz="1050">
              <a:latin typeface="Poppins" panose="00000500000000000000" pitchFamily="2" charset="0"/>
              <a:ea typeface="+mn-lt"/>
              <a:cs typeface="Poppins" panose="00000500000000000000" pitchFamily="2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GB" sz="1050" b="1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 Bi-directional API: </a:t>
            </a:r>
            <a:r>
              <a:rPr lang="en-GB" sz="1050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Send &amp; and receive event Information to any required system to create an event and receive back IDs so that bidirectional updates can be performed from either system.</a:t>
            </a:r>
          </a:p>
          <a:p>
            <a:pPr>
              <a:buFont typeface="Arial" panose="020B0604020202020204" pitchFamily="34" charset="0"/>
              <a:buChar char="•"/>
            </a:pPr>
            <a:endParaRPr lang="en-GB" sz="105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GB" sz="1050" b="1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 Data governance: </a:t>
            </a:r>
            <a:r>
              <a:rPr lang="en-GB" sz="1050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create a method to ensure data quality and completeness.  </a:t>
            </a:r>
          </a:p>
          <a:p>
            <a:pPr>
              <a:buFont typeface="Arial" panose="020B0604020202020204" pitchFamily="34" charset="0"/>
              <a:buChar char="•"/>
            </a:pPr>
            <a:endParaRPr lang="en-GB" sz="1050">
              <a:latin typeface="Poppins" panose="00000500000000000000" pitchFamily="2" charset="0"/>
              <a:ea typeface="+mn-lt"/>
              <a:cs typeface="Poppins" panose="00000500000000000000" pitchFamily="2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GB" sz="1050" b="1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 Training: </a:t>
            </a:r>
            <a:r>
              <a:rPr lang="en-GB" sz="1050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All teams on how to enter events into the new application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GB" sz="1050">
              <a:latin typeface="Poppins" panose="00000500000000000000" pitchFamily="2" charset="0"/>
              <a:ea typeface="Open Sans" panose="020B0606030504020204" pitchFamily="34" charset="0"/>
              <a:cs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028313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E01080-880A-B173-38A7-25884D6F79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500"/>
              <a:t>BENEFI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C11859-4542-8B7C-D1B8-1375A50358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9100" y="1350989"/>
            <a:ext cx="11353800" cy="487110"/>
          </a:xfrm>
        </p:spPr>
        <p:txBody>
          <a:bodyPr vert="horz" lIns="0" tIns="0" rIns="0" bIns="0" rtlCol="0" anchor="t">
            <a:normAutofit/>
          </a:bodyPr>
          <a:lstStyle/>
          <a:p>
            <a:pPr mar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GB">
                <a:latin typeface="Poppins" panose="00000500000000000000" pitchFamily="2" charset="0"/>
                <a:ea typeface="Yu Mincho"/>
                <a:cs typeface="Poppins" panose="00000500000000000000" pitchFamily="2" charset="0"/>
              </a:rPr>
              <a:t>Our primary audience is business leaders and project managers who are in charge of activations.</a:t>
            </a:r>
            <a:endParaRPr lang="en-US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>
              <a:lnSpc>
                <a:spcPct val="100000"/>
              </a:lnSpc>
              <a:spcAft>
                <a:spcPts val="0"/>
              </a:spcAft>
              <a:buFont typeface="+mj-lt"/>
              <a:buChar char="•"/>
            </a:pPr>
            <a:endParaRPr lang="en-US" sz="2600">
              <a:latin typeface="Arial"/>
              <a:cs typeface="Arial"/>
            </a:endParaRPr>
          </a:p>
          <a:p>
            <a:pPr>
              <a:lnSpc>
                <a:spcPct val="100000"/>
              </a:lnSpc>
              <a:spcAft>
                <a:spcPts val="0"/>
              </a:spcAft>
              <a:buFont typeface="+mj-lt"/>
              <a:buChar char="•"/>
            </a:pPr>
            <a:endParaRPr lang="en-US">
              <a:latin typeface="Arial"/>
              <a:cs typeface="Arial"/>
            </a:endParaRPr>
          </a:p>
          <a:p>
            <a:pPr marL="342900" indent="-342900">
              <a:lnSpc>
                <a:spcPct val="114999"/>
              </a:lnSpc>
              <a:buAutoNum type="arabicPeriod"/>
            </a:pPr>
            <a:endParaRPr lang="en-GB" sz="1800">
              <a:latin typeface="Momo Neue"/>
              <a:ea typeface="Yu Mincho" panose="02020400000000000000" pitchFamily="18" charset="-128"/>
            </a:endParaRPr>
          </a:p>
          <a:p>
            <a:pPr marL="342900" lvl="0" indent="-342900">
              <a:lnSpc>
                <a:spcPct val="115000"/>
              </a:lnSpc>
              <a:spcAft>
                <a:spcPts val="1000"/>
              </a:spcAft>
              <a:buFont typeface="+mj-lt"/>
              <a:buAutoNum type="arabicPeriod"/>
            </a:pPr>
            <a:endParaRPr lang="en-GB" sz="1800">
              <a:latin typeface="Calibri" panose="020F0502020204030204" pitchFamily="34" charset="0"/>
              <a:ea typeface="Yu Mincho" panose="02020400000000000000" pitchFamily="18" charset="-128"/>
            </a:endParaRPr>
          </a:p>
          <a:p>
            <a:pPr marL="342900" lvl="0" indent="-342900">
              <a:lnSpc>
                <a:spcPct val="115000"/>
              </a:lnSpc>
              <a:spcAft>
                <a:spcPts val="1000"/>
              </a:spcAft>
              <a:buFont typeface="+mj-lt"/>
              <a:buAutoNum type="arabicPeriod"/>
            </a:pPr>
            <a:endParaRPr lang="en-GB" sz="1800">
              <a:effectLst/>
              <a:latin typeface="Calibri" panose="020F0502020204030204" pitchFamily="34" charset="0"/>
              <a:ea typeface="Yu Mincho" panose="02020400000000000000" pitchFamily="18" charset="-128"/>
              <a:cs typeface="Arial" panose="020B0604020202020204" pitchFamily="34" charset="0"/>
            </a:endParaRPr>
          </a:p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C36522-A878-41B5-9D50-A913E22A4F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33</a:t>
            </a:fld>
            <a:endParaRPr lang="en-US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AE5163B-87D9-8D7E-E794-04A32C6437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9173667"/>
              </p:ext>
            </p:extLst>
          </p:nvPr>
        </p:nvGraphicFramePr>
        <p:xfrm>
          <a:off x="419100" y="1806391"/>
          <a:ext cx="10848840" cy="324521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294976">
                  <a:extLst>
                    <a:ext uri="{9D8B030D-6E8A-4147-A177-3AD203B41FA5}">
                      <a16:colId xmlns:a16="http://schemas.microsoft.com/office/drawing/2014/main" val="1192650131"/>
                    </a:ext>
                  </a:extLst>
                </a:gridCol>
                <a:gridCol w="3673730">
                  <a:extLst>
                    <a:ext uri="{9D8B030D-6E8A-4147-A177-3AD203B41FA5}">
                      <a16:colId xmlns:a16="http://schemas.microsoft.com/office/drawing/2014/main" val="1393739186"/>
                    </a:ext>
                  </a:extLst>
                </a:gridCol>
                <a:gridCol w="4880134">
                  <a:extLst>
                    <a:ext uri="{9D8B030D-6E8A-4147-A177-3AD203B41FA5}">
                      <a16:colId xmlns:a16="http://schemas.microsoft.com/office/drawing/2014/main" val="2594816048"/>
                    </a:ext>
                  </a:extLst>
                </a:gridCol>
              </a:tblGrid>
              <a:tr h="399731">
                <a:tc>
                  <a:txBody>
                    <a:bodyPr/>
                    <a:lstStyle/>
                    <a:p>
                      <a:pPr algn="ctr" rtl="0" fontAlgn="auto"/>
                      <a:r>
                        <a:rPr lang="en-US" sz="1400" b="1">
                          <a:solidFill>
                            <a:srgbClr val="FFFFFF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​DELIVERABLE</a:t>
                      </a:r>
                      <a:endParaRPr lang="en-US" sz="1400" b="1" i="0">
                        <a:solidFill>
                          <a:srgbClr val="FFFFFF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auto"/>
                      <a:r>
                        <a:rPr lang="en-US" sz="1400" b="1">
                          <a:solidFill>
                            <a:srgbClr val="FFFFFF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​BENEFIT</a:t>
                      </a:r>
                      <a:r>
                        <a:rPr lang="en-US" sz="1400" b="0">
                          <a:solidFill>
                            <a:srgbClr val="FFFFFF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 </a:t>
                      </a:r>
                      <a:r>
                        <a:rPr lang="en-US" sz="1400" b="1">
                          <a:solidFill>
                            <a:srgbClr val="FFFFFF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​</a:t>
                      </a:r>
                      <a:endParaRPr lang="en-US" sz="1400" b="1" i="0">
                        <a:solidFill>
                          <a:srgbClr val="FFFFFF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400" b="1">
                          <a:solidFill>
                            <a:srgbClr val="FFFFFF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PAIN SOLVED</a:t>
                      </a:r>
                      <a:r>
                        <a:rPr lang="en-US" sz="1400" b="0">
                          <a:solidFill>
                            <a:srgbClr val="FFFFFF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 </a:t>
                      </a:r>
                      <a:r>
                        <a:rPr lang="en-US" sz="1400" b="1">
                          <a:solidFill>
                            <a:srgbClr val="FFFFFF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​</a:t>
                      </a:r>
                      <a:endParaRPr lang="en-US" sz="1400" b="1" i="0">
                        <a:solidFill>
                          <a:srgbClr val="FFFFFF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25335264"/>
                  </a:ext>
                </a:extLst>
              </a:tr>
              <a:tr h="644977">
                <a:tc>
                  <a:txBody>
                    <a:bodyPr/>
                    <a:lstStyle/>
                    <a:p>
                      <a:pPr algn="r" rtl="0" fontAlgn="auto"/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​Front End</a:t>
                      </a:r>
                      <a:endParaRPr lang="en-US" sz="1400" b="1" i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auto"/>
                      <a:r>
                        <a:rPr lang="en-US" sz="1100" b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​</a:t>
                      </a:r>
                      <a:r>
                        <a:rPr lang="en-US" sz="1100" b="1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Centralized</a:t>
                      </a:r>
                      <a:r>
                        <a:rPr lang="en-US" sz="1100" b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 management of all </a:t>
                      </a:r>
                      <a:r>
                        <a:rPr lang="en-US" sz="1100" b="1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activation data </a:t>
                      </a:r>
                      <a:r>
                        <a:rPr lang="en-US" sz="1100" b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​</a:t>
                      </a:r>
                      <a:endParaRPr lang="en-US" sz="1100" b="0" i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100" b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Scattered and disorganized data across multiple systems ​</a:t>
                      </a:r>
                      <a:endParaRPr lang="en-US" sz="1100" b="0" i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1904284"/>
                  </a:ext>
                </a:extLst>
              </a:tr>
              <a:tr h="910556"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Database</a:t>
                      </a:r>
                      <a:endParaRPr lang="en-US" sz="1400" b="1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auto"/>
                      <a:r>
                        <a:rPr lang="en-US" sz="1100" b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​</a:t>
                      </a:r>
                      <a:r>
                        <a:rPr lang="en-US" sz="1100" b="1" u="none" strike="noStrike" baseline="0" noProof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All</a:t>
                      </a:r>
                      <a:r>
                        <a:rPr lang="en-US" sz="1100" b="0" u="none" strike="noStrike" baseline="0" noProof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 </a:t>
                      </a:r>
                      <a:r>
                        <a:rPr lang="en-US" sz="1100" b="1" u="none" strike="noStrike" baseline="0" noProof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GUIDs</a:t>
                      </a:r>
                      <a:r>
                        <a:rPr lang="en-US" sz="1100" b="0" u="none" strike="noStrike" baseline="0" noProof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, and base Information. </a:t>
                      </a:r>
                      <a:br>
                        <a:rPr lang="en-US" sz="1100" b="0" u="none" strike="noStrike" baseline="0" noProof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br>
                        <a:rPr lang="en-US" sz="1100" b="0" u="none" strike="noStrike" baseline="0" noProof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r>
                        <a:rPr lang="en-US" sz="1100" b="0" u="none" strike="noStrike" baseline="0" noProof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Can be enriched with additional IDs and transactional data from 3rd party systems</a:t>
                      </a:r>
                      <a:endParaRPr lang="en-US" sz="110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auto"/>
                      <a:r>
                        <a:rPr lang="en-US" sz="1100" b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​Difficulty in tracking and managing events ​and multiple systems</a:t>
                      </a:r>
                      <a:br>
                        <a:rPr lang="en-US" sz="1100" b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br>
                        <a:rPr lang="en-US" sz="1100" b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r>
                        <a:rPr lang="en-US" sz="1100" b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Manual GUID creation</a:t>
                      </a:r>
                      <a:endParaRPr lang="en-US" sz="1100" b="0" i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27026862"/>
                  </a:ext>
                </a:extLst>
              </a:tr>
              <a:tr h="644977"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sz="1400" b="1" u="none" strike="noStrike" baseline="0" noProof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APIs </a:t>
                      </a:r>
                      <a:endParaRPr lang="en-US" sz="1400" b="1" i="0" u="none" strike="noStrike" baseline="0" noProof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0" u="none" strike="noStrike" baseline="0" noProof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Will </a:t>
                      </a:r>
                      <a:r>
                        <a:rPr lang="en-US" sz="1100" b="1" u="none" strike="noStrike" baseline="0" noProof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connect</a:t>
                      </a:r>
                      <a:r>
                        <a:rPr lang="en-US" sz="1100" b="0" u="none" strike="noStrike" baseline="0" noProof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 bi-directional API's with third party </a:t>
                      </a:r>
                      <a:r>
                        <a:rPr lang="en-US" sz="1100" b="1" u="none" strike="noStrike" baseline="0" noProof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systems</a:t>
                      </a:r>
                      <a:r>
                        <a:rPr lang="en-US" sz="1100" b="0" u="none" strike="noStrike" baseline="0" noProof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 </a:t>
                      </a:r>
                      <a:endParaRPr lang="en-US" sz="1100" b="0" i="0" u="none" strike="noStrike" baseline="0" noProof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Manual downloads of data and manual data mapping</a:t>
                      </a:r>
                      <a:endParaRPr lang="en-US" sz="1100" b="0" i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4880857"/>
                  </a:ext>
                </a:extLst>
              </a:tr>
              <a:tr h="644977"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sz="1400" b="1" u="none" strike="noStrike" baseline="0" noProof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Training &amp; Documentation</a:t>
                      </a:r>
                      <a:endParaRPr lang="en-US" sz="1400" b="1" i="0" u="none" strike="noStrike" baseline="0" noProof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0" u="none" strike="noStrike" baseline="0" noProof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Streamline training and documentation across business units </a:t>
                      </a:r>
                      <a:endParaRPr lang="en-US" sz="1100" b="0" i="0" u="none" strike="noStrike" baseline="0" noProof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Lack of unified training across teams and offices</a:t>
                      </a:r>
                      <a:endParaRPr lang="en-US" sz="1100" b="0" i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079720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188217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B063D7F-8931-03FE-EA3A-1B4EE743FF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ODAY</a:t>
            </a:r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9AA9B756-059D-AD49-0767-BA7CF1DD45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9100" y="1409700"/>
            <a:ext cx="5269319" cy="4381499"/>
          </a:xfrm>
        </p:spPr>
        <p:txBody>
          <a:bodyPr/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b="0" i="0">
                <a:effectLst/>
              </a:rPr>
              <a:t>Momentum gathers meaningful post-event metrics by unifying data from different sources. 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40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/>
              <a:t>Information is either </a:t>
            </a:r>
            <a:r>
              <a:rPr lang="en-US" sz="2400" b="1"/>
              <a:t>not available </a:t>
            </a:r>
            <a:r>
              <a:rPr lang="en-US" sz="2400"/>
              <a:t>or </a:t>
            </a:r>
            <a:r>
              <a:rPr lang="en-US" sz="2400" b="1"/>
              <a:t>not shared in a timely manner.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400" b="1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b="1"/>
              <a:t>This limits Momentums spend and agility when generating insights.</a:t>
            </a:r>
          </a:p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FAF9F0-4F63-CDCE-1D77-5EE7247F37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6" name="Picture 5" descr="House of cards">
            <a:extLst>
              <a:ext uri="{FF2B5EF4-FFF2-40B4-BE49-F238E27FC236}">
                <a16:creationId xmlns:a16="http://schemas.microsoft.com/office/drawing/2014/main" id="{82A67FDF-A0E7-A447-AAC1-F76415767A0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rcRect t="13740"/>
          <a:stretch/>
        </p:blipFill>
        <p:spPr>
          <a:xfrm>
            <a:off x="6229215" y="10"/>
            <a:ext cx="5962785" cy="6857990"/>
          </a:xfrm>
          <a:custGeom>
            <a:avLst/>
            <a:gdLst/>
            <a:ahLst/>
            <a:cxnLst/>
            <a:rect l="l" t="t" r="r" b="b"/>
            <a:pathLst>
              <a:path w="5962785" h="6858000">
                <a:moveTo>
                  <a:pt x="1044839" y="0"/>
                </a:moveTo>
                <a:lnTo>
                  <a:pt x="5962785" y="0"/>
                </a:lnTo>
                <a:lnTo>
                  <a:pt x="5962785" y="6858000"/>
                </a:lnTo>
                <a:lnTo>
                  <a:pt x="1469886" y="6858000"/>
                </a:lnTo>
                <a:lnTo>
                  <a:pt x="1416006" y="6823984"/>
                </a:lnTo>
                <a:cubicBezTo>
                  <a:pt x="1356767" y="6787940"/>
                  <a:pt x="1296437" y="6755500"/>
                  <a:pt x="1232473" y="6733873"/>
                </a:cubicBezTo>
                <a:cubicBezTo>
                  <a:pt x="1145250" y="6705037"/>
                  <a:pt x="1060933" y="6654575"/>
                  <a:pt x="1075471" y="6503186"/>
                </a:cubicBezTo>
                <a:cubicBezTo>
                  <a:pt x="1078378" y="6459932"/>
                  <a:pt x="1055118" y="6427493"/>
                  <a:pt x="1020229" y="6438306"/>
                </a:cubicBezTo>
                <a:cubicBezTo>
                  <a:pt x="953358" y="6459932"/>
                  <a:pt x="921375" y="6398656"/>
                  <a:pt x="883579" y="6351798"/>
                </a:cubicBezTo>
                <a:cubicBezTo>
                  <a:pt x="816707" y="6268895"/>
                  <a:pt x="752743" y="6182387"/>
                  <a:pt x="645167" y="6167969"/>
                </a:cubicBezTo>
                <a:cubicBezTo>
                  <a:pt x="665519" y="6103088"/>
                  <a:pt x="700408" y="6110298"/>
                  <a:pt x="732391" y="6124716"/>
                </a:cubicBezTo>
                <a:cubicBezTo>
                  <a:pt x="816707" y="6160761"/>
                  <a:pt x="901023" y="6200410"/>
                  <a:pt x="985339" y="6236455"/>
                </a:cubicBezTo>
                <a:cubicBezTo>
                  <a:pt x="1040581" y="6258081"/>
                  <a:pt x="1095822" y="6290522"/>
                  <a:pt x="1168509" y="6265291"/>
                </a:cubicBezTo>
                <a:cubicBezTo>
                  <a:pt x="1104545" y="6135530"/>
                  <a:pt x="996969" y="6110298"/>
                  <a:pt x="909746" y="6070649"/>
                </a:cubicBezTo>
                <a:cubicBezTo>
                  <a:pt x="802169" y="6020185"/>
                  <a:pt x="738206" y="5926470"/>
                  <a:pt x="659704" y="5818335"/>
                </a:cubicBezTo>
                <a:cubicBezTo>
                  <a:pt x="738206" y="5789500"/>
                  <a:pt x="787632" y="5868798"/>
                  <a:pt x="851597" y="5865193"/>
                </a:cubicBezTo>
                <a:cubicBezTo>
                  <a:pt x="854504" y="5854380"/>
                  <a:pt x="860319" y="5832753"/>
                  <a:pt x="860319" y="5832753"/>
                </a:cubicBezTo>
                <a:cubicBezTo>
                  <a:pt x="755650" y="5775081"/>
                  <a:pt x="709132" y="5666947"/>
                  <a:pt x="691686" y="5533581"/>
                </a:cubicBezTo>
                <a:cubicBezTo>
                  <a:pt x="685872" y="5465095"/>
                  <a:pt x="648075" y="5443468"/>
                  <a:pt x="610278" y="5411029"/>
                </a:cubicBezTo>
                <a:cubicBezTo>
                  <a:pt x="482350" y="5299289"/>
                  <a:pt x="345700" y="5198364"/>
                  <a:pt x="238123" y="5046976"/>
                </a:cubicBezTo>
                <a:cubicBezTo>
                  <a:pt x="363144" y="5064998"/>
                  <a:pt x="461997" y="5165924"/>
                  <a:pt x="592833" y="5209177"/>
                </a:cubicBezTo>
                <a:cubicBezTo>
                  <a:pt x="488165" y="5043371"/>
                  <a:pt x="351514" y="4956864"/>
                  <a:pt x="226494" y="4855939"/>
                </a:cubicBezTo>
                <a:cubicBezTo>
                  <a:pt x="168344" y="4809081"/>
                  <a:pt x="116011" y="4751408"/>
                  <a:pt x="49139" y="4726177"/>
                </a:cubicBezTo>
                <a:cubicBezTo>
                  <a:pt x="25879" y="4718968"/>
                  <a:pt x="-14825" y="4700947"/>
                  <a:pt x="5527" y="4650483"/>
                </a:cubicBezTo>
                <a:cubicBezTo>
                  <a:pt x="22972" y="4607230"/>
                  <a:pt x="54954" y="4621648"/>
                  <a:pt x="84029" y="4632460"/>
                </a:cubicBezTo>
                <a:cubicBezTo>
                  <a:pt x="153807" y="4661296"/>
                  <a:pt x="229401" y="4661296"/>
                  <a:pt x="325347" y="4661296"/>
                </a:cubicBezTo>
                <a:cubicBezTo>
                  <a:pt x="243939" y="4524326"/>
                  <a:pt x="95658" y="4567580"/>
                  <a:pt x="25879" y="4423401"/>
                </a:cubicBezTo>
                <a:cubicBezTo>
                  <a:pt x="113103" y="4398170"/>
                  <a:pt x="179975" y="4448632"/>
                  <a:pt x="249753" y="4459446"/>
                </a:cubicBezTo>
                <a:cubicBezTo>
                  <a:pt x="313718" y="4470259"/>
                  <a:pt x="328254" y="4445028"/>
                  <a:pt x="313718" y="4365729"/>
                </a:cubicBezTo>
                <a:cubicBezTo>
                  <a:pt x="290458" y="4243177"/>
                  <a:pt x="325347" y="4181900"/>
                  <a:pt x="418386" y="4214341"/>
                </a:cubicBezTo>
                <a:cubicBezTo>
                  <a:pt x="505609" y="4246781"/>
                  <a:pt x="514332" y="4199922"/>
                  <a:pt x="491072" y="4131438"/>
                </a:cubicBezTo>
                <a:cubicBezTo>
                  <a:pt x="456183" y="4030512"/>
                  <a:pt x="493979" y="3951214"/>
                  <a:pt x="520147" y="3864706"/>
                </a:cubicBezTo>
                <a:cubicBezTo>
                  <a:pt x="560851" y="3734945"/>
                  <a:pt x="543407" y="3670064"/>
                  <a:pt x="459090" y="3572743"/>
                </a:cubicBezTo>
                <a:cubicBezTo>
                  <a:pt x="409664" y="3518676"/>
                  <a:pt x="360236" y="3471818"/>
                  <a:pt x="290458" y="3424959"/>
                </a:cubicBezTo>
                <a:cubicBezTo>
                  <a:pt x="450368" y="3399728"/>
                  <a:pt x="284643" y="3313221"/>
                  <a:pt x="339884" y="3259153"/>
                </a:cubicBezTo>
                <a:cubicBezTo>
                  <a:pt x="453275" y="3237527"/>
                  <a:pt x="543407" y="3410542"/>
                  <a:pt x="697501" y="3360078"/>
                </a:cubicBezTo>
                <a:cubicBezTo>
                  <a:pt x="511425" y="3212294"/>
                  <a:pt x="302087" y="3165436"/>
                  <a:pt x="165437" y="2967190"/>
                </a:cubicBezTo>
                <a:cubicBezTo>
                  <a:pt x="197419" y="2923937"/>
                  <a:pt x="229401" y="2967190"/>
                  <a:pt x="255568" y="2949167"/>
                </a:cubicBezTo>
                <a:cubicBezTo>
                  <a:pt x="255568" y="2938354"/>
                  <a:pt x="560851" y="3006840"/>
                  <a:pt x="578296" y="2725691"/>
                </a:cubicBezTo>
                <a:cubicBezTo>
                  <a:pt x="584111" y="2725691"/>
                  <a:pt x="589926" y="2725691"/>
                  <a:pt x="595740" y="2714876"/>
                </a:cubicBezTo>
                <a:cubicBezTo>
                  <a:pt x="627722" y="2675228"/>
                  <a:pt x="598648" y="2581510"/>
                  <a:pt x="650982" y="2574301"/>
                </a:cubicBezTo>
                <a:cubicBezTo>
                  <a:pt x="709132" y="2567092"/>
                  <a:pt x="764373" y="2534653"/>
                  <a:pt x="825429" y="2552674"/>
                </a:cubicBezTo>
                <a:cubicBezTo>
                  <a:pt x="871949" y="2567092"/>
                  <a:pt x="921375" y="2585115"/>
                  <a:pt x="970802" y="2585115"/>
                </a:cubicBezTo>
                <a:cubicBezTo>
                  <a:pt x="1023136" y="2585115"/>
                  <a:pt x="1095822" y="2707668"/>
                  <a:pt x="1127805" y="2545465"/>
                </a:cubicBezTo>
                <a:cubicBezTo>
                  <a:pt x="1127805" y="2538257"/>
                  <a:pt x="1217936" y="2556280"/>
                  <a:pt x="1267362" y="2563488"/>
                </a:cubicBezTo>
                <a:cubicBezTo>
                  <a:pt x="1308067" y="2570698"/>
                  <a:pt x="1357494" y="2603137"/>
                  <a:pt x="1386568" y="2538257"/>
                </a:cubicBezTo>
                <a:cubicBezTo>
                  <a:pt x="1401105" y="2498607"/>
                  <a:pt x="1331326" y="2426518"/>
                  <a:pt x="1270270" y="2419309"/>
                </a:cubicBezTo>
                <a:cubicBezTo>
                  <a:pt x="1215029" y="2412101"/>
                  <a:pt x="1159787" y="2404892"/>
                  <a:pt x="1107453" y="2419309"/>
                </a:cubicBezTo>
                <a:cubicBezTo>
                  <a:pt x="1043489" y="2437331"/>
                  <a:pt x="1008599" y="2408495"/>
                  <a:pt x="991154" y="2343615"/>
                </a:cubicBezTo>
                <a:cubicBezTo>
                  <a:pt x="970802" y="2275131"/>
                  <a:pt x="933005" y="2239085"/>
                  <a:pt x="880671" y="2206645"/>
                </a:cubicBezTo>
                <a:cubicBezTo>
                  <a:pt x="752743" y="2127346"/>
                  <a:pt x="630630" y="2033629"/>
                  <a:pt x="491072" y="1986771"/>
                </a:cubicBezTo>
                <a:cubicBezTo>
                  <a:pt x="464905" y="1979562"/>
                  <a:pt x="432923" y="1965145"/>
                  <a:pt x="421293" y="1903868"/>
                </a:cubicBezTo>
                <a:cubicBezTo>
                  <a:pt x="799262" y="1997584"/>
                  <a:pt x="1142342" y="2239085"/>
                  <a:pt x="1531941" y="2224667"/>
                </a:cubicBezTo>
                <a:cubicBezTo>
                  <a:pt x="1427272" y="2148974"/>
                  <a:pt x="1302252" y="2145369"/>
                  <a:pt x="1188861" y="2091301"/>
                </a:cubicBezTo>
                <a:cubicBezTo>
                  <a:pt x="1270270" y="2051652"/>
                  <a:pt x="1345864" y="2094906"/>
                  <a:pt x="1421458" y="2116532"/>
                </a:cubicBezTo>
                <a:cubicBezTo>
                  <a:pt x="1485422" y="2134554"/>
                  <a:pt x="1543571" y="2138160"/>
                  <a:pt x="1549386" y="2026420"/>
                </a:cubicBezTo>
                <a:cubicBezTo>
                  <a:pt x="1549386" y="2015607"/>
                  <a:pt x="1549386" y="2008398"/>
                  <a:pt x="1549386" y="1997584"/>
                </a:cubicBezTo>
                <a:cubicBezTo>
                  <a:pt x="1526126" y="1950727"/>
                  <a:pt x="1494144" y="1929099"/>
                  <a:pt x="1453440" y="1914682"/>
                </a:cubicBezTo>
                <a:cubicBezTo>
                  <a:pt x="1430180" y="1907473"/>
                  <a:pt x="1398198" y="1893056"/>
                  <a:pt x="1398198" y="1860614"/>
                </a:cubicBezTo>
                <a:cubicBezTo>
                  <a:pt x="1401105" y="1738063"/>
                  <a:pt x="1322604" y="1702018"/>
                  <a:pt x="1247011" y="1665972"/>
                </a:cubicBezTo>
                <a:cubicBezTo>
                  <a:pt x="1287715" y="1604696"/>
                  <a:pt x="1322604" y="1647950"/>
                  <a:pt x="1354586" y="1644345"/>
                </a:cubicBezTo>
                <a:cubicBezTo>
                  <a:pt x="1374939" y="1640741"/>
                  <a:pt x="1395290" y="1637138"/>
                  <a:pt x="1395290" y="1604696"/>
                </a:cubicBezTo>
                <a:cubicBezTo>
                  <a:pt x="1395290" y="1579465"/>
                  <a:pt x="1386568" y="1547025"/>
                  <a:pt x="1366216" y="1547025"/>
                </a:cubicBezTo>
                <a:cubicBezTo>
                  <a:pt x="1238288" y="1543420"/>
                  <a:pt x="1165601" y="1370405"/>
                  <a:pt x="1031858" y="1370405"/>
                </a:cubicBezTo>
                <a:cubicBezTo>
                  <a:pt x="950450" y="1370405"/>
                  <a:pt x="1072563" y="1273083"/>
                  <a:pt x="1005692" y="1233435"/>
                </a:cubicBezTo>
                <a:cubicBezTo>
                  <a:pt x="991154" y="1222621"/>
                  <a:pt x="1046396" y="1208203"/>
                  <a:pt x="1069655" y="1211808"/>
                </a:cubicBezTo>
                <a:cubicBezTo>
                  <a:pt x="1092915" y="1215412"/>
                  <a:pt x="1113268" y="1240644"/>
                  <a:pt x="1142342" y="1222621"/>
                </a:cubicBezTo>
                <a:cubicBezTo>
                  <a:pt x="1156879" y="1157741"/>
                  <a:pt x="1119082" y="1132510"/>
                  <a:pt x="1084193" y="1114487"/>
                </a:cubicBezTo>
                <a:cubicBezTo>
                  <a:pt x="1008599" y="1071234"/>
                  <a:pt x="933005" y="1020771"/>
                  <a:pt x="848689" y="1006353"/>
                </a:cubicBezTo>
                <a:cubicBezTo>
                  <a:pt x="819615" y="1002748"/>
                  <a:pt x="802169" y="984726"/>
                  <a:pt x="805077" y="948681"/>
                </a:cubicBezTo>
                <a:cubicBezTo>
                  <a:pt x="810892" y="901822"/>
                  <a:pt x="839967" y="916240"/>
                  <a:pt x="863226" y="919844"/>
                </a:cubicBezTo>
                <a:cubicBezTo>
                  <a:pt x="877764" y="923450"/>
                  <a:pt x="892301" y="934263"/>
                  <a:pt x="906838" y="909031"/>
                </a:cubicBezTo>
                <a:cubicBezTo>
                  <a:pt x="566666" y="653113"/>
                  <a:pt x="386404" y="667532"/>
                  <a:pt x="5527" y="458471"/>
                </a:cubicBezTo>
                <a:cubicBezTo>
                  <a:pt x="89843" y="418822"/>
                  <a:pt x="150900" y="447658"/>
                  <a:pt x="209049" y="454867"/>
                </a:cubicBezTo>
                <a:cubicBezTo>
                  <a:pt x="354422" y="472890"/>
                  <a:pt x="264290" y="505329"/>
                  <a:pt x="409664" y="526956"/>
                </a:cubicBezTo>
                <a:cubicBezTo>
                  <a:pt x="479443" y="537770"/>
                  <a:pt x="543407" y="573815"/>
                  <a:pt x="621908" y="516143"/>
                </a:cubicBezTo>
                <a:cubicBezTo>
                  <a:pt x="674242" y="476494"/>
                  <a:pt x="758558" y="519747"/>
                  <a:pt x="822522" y="552188"/>
                </a:cubicBezTo>
                <a:cubicBezTo>
                  <a:pt x="874856" y="581024"/>
                  <a:pt x="927190" y="588232"/>
                  <a:pt x="996969" y="552188"/>
                </a:cubicBezTo>
                <a:cubicBezTo>
                  <a:pt x="933005" y="530562"/>
                  <a:pt x="883579" y="512539"/>
                  <a:pt x="834151" y="498120"/>
                </a:cubicBezTo>
                <a:cubicBezTo>
                  <a:pt x="793447" y="487307"/>
                  <a:pt x="770187" y="462076"/>
                  <a:pt x="773095" y="408008"/>
                </a:cubicBezTo>
                <a:cubicBezTo>
                  <a:pt x="773095" y="379172"/>
                  <a:pt x="764373" y="339523"/>
                  <a:pt x="793447" y="325106"/>
                </a:cubicBezTo>
                <a:cubicBezTo>
                  <a:pt x="816707" y="310688"/>
                  <a:pt x="848689" y="325106"/>
                  <a:pt x="860319" y="350336"/>
                </a:cubicBezTo>
                <a:cubicBezTo>
                  <a:pt x="874856" y="397195"/>
                  <a:pt x="889393" y="440449"/>
                  <a:pt x="938820" y="444054"/>
                </a:cubicBezTo>
                <a:cubicBezTo>
                  <a:pt x="1005692" y="451262"/>
                  <a:pt x="967894" y="422426"/>
                  <a:pt x="956265" y="386381"/>
                </a:cubicBezTo>
                <a:cubicBezTo>
                  <a:pt x="944635" y="346733"/>
                  <a:pt x="979525" y="335919"/>
                  <a:pt x="1002784" y="343127"/>
                </a:cubicBezTo>
                <a:cubicBezTo>
                  <a:pt x="1090008" y="375569"/>
                  <a:pt x="1180139" y="317897"/>
                  <a:pt x="1270270" y="364755"/>
                </a:cubicBezTo>
                <a:cubicBezTo>
                  <a:pt x="1247011" y="249411"/>
                  <a:pt x="1197583" y="198949"/>
                  <a:pt x="1092915" y="180926"/>
                </a:cubicBezTo>
                <a:cubicBezTo>
                  <a:pt x="1055118" y="177322"/>
                  <a:pt x="1014414" y="184530"/>
                  <a:pt x="979525" y="152090"/>
                </a:cubicBezTo>
                <a:cubicBezTo>
                  <a:pt x="959172" y="134068"/>
                  <a:pt x="938820" y="112441"/>
                  <a:pt x="953358" y="76396"/>
                </a:cubicBezTo>
                <a:cubicBezTo>
                  <a:pt x="962080" y="51165"/>
                  <a:pt x="985339" y="51165"/>
                  <a:pt x="1005692" y="58373"/>
                </a:cubicBezTo>
                <a:cubicBezTo>
                  <a:pt x="1090008" y="98023"/>
                  <a:pt x="1180139" y="108837"/>
                  <a:pt x="1267362" y="123254"/>
                </a:cubicBezTo>
                <a:cubicBezTo>
                  <a:pt x="1281900" y="126859"/>
                  <a:pt x="1296437" y="134068"/>
                  <a:pt x="1310975" y="98023"/>
                </a:cubicBezTo>
                <a:cubicBezTo>
                  <a:pt x="1260095" y="81803"/>
                  <a:pt x="1209941" y="62879"/>
                  <a:pt x="1159787" y="43505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60611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4291E4E-7A28-5C57-742F-87B6FAAD45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latin typeface="Arial Black"/>
              </a:rPr>
              <a:t>UNIFIED EXPERIENCE DATA ECOSYSTEM 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40D572-BEF4-4FBA-FC0B-9DE1D2CDAA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39419ED-5F27-FEFE-34EB-834A61C3AAB6}"/>
              </a:ext>
            </a:extLst>
          </p:cNvPr>
          <p:cNvSpPr txBox="1"/>
          <p:nvPr/>
        </p:nvSpPr>
        <p:spPr>
          <a:xfrm>
            <a:off x="277567" y="1480941"/>
            <a:ext cx="1814363" cy="185166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en-GB" sz="1000" b="1" i="1">
                <a:effectLst/>
                <a:latin typeface="Momo Neue"/>
                <a:ea typeface="Yu Mincho"/>
                <a:cs typeface="Arial"/>
              </a:rPr>
              <a:t>Unified Experience </a:t>
            </a:r>
            <a:r>
              <a:rPr lang="en-GB" sz="1000" b="1" i="1">
                <a:latin typeface="Momo Neue"/>
                <a:ea typeface="Yu Mincho"/>
                <a:cs typeface="Arial"/>
              </a:rPr>
              <a:t>Platform </a:t>
            </a:r>
            <a:r>
              <a:rPr lang="en-GB" sz="1000" b="1" i="1">
                <a:effectLst/>
                <a:latin typeface="Momo Neue"/>
                <a:ea typeface="Yu Mincho"/>
                <a:cs typeface="Arial"/>
              </a:rPr>
              <a:t>(</a:t>
            </a:r>
            <a:r>
              <a:rPr lang="en-GB" sz="1000" b="1" i="1">
                <a:latin typeface="Momo Neue"/>
                <a:ea typeface="Yu Mincho"/>
                <a:cs typeface="Arial"/>
              </a:rPr>
              <a:t>UXP</a:t>
            </a:r>
            <a:r>
              <a:rPr lang="en-GB" sz="1000" b="1" i="1">
                <a:effectLst/>
                <a:latin typeface="Momo Neue"/>
                <a:ea typeface="Yu Mincho"/>
                <a:cs typeface="Arial"/>
              </a:rPr>
              <a:t>) and Input Procedure</a:t>
            </a:r>
            <a:br>
              <a:rPr lang="en-GB" sz="1000" i="1">
                <a:effectLst/>
                <a:latin typeface="Momo Neue"/>
                <a:ea typeface="Yu Mincho" panose="02020400000000000000" pitchFamily="18" charset="-128"/>
                <a:cs typeface="Arial" panose="020B0604020202020204" pitchFamily="34" charset="0"/>
              </a:rPr>
            </a:br>
            <a:r>
              <a:rPr lang="en-GB" sz="1000" i="1">
                <a:effectLst/>
                <a:latin typeface="Momo Neue"/>
                <a:ea typeface="Yu Mincho"/>
                <a:cs typeface="Arial"/>
              </a:rPr>
              <a:t>A front-end Input application and organization-wide process/system for collecting Activation Details and information: Activation Name, Activation Date, Activation Client, and Activation Location.</a:t>
            </a:r>
            <a:r>
              <a:rPr lang="en-GB" sz="1000" i="1">
                <a:latin typeface="Momo Neue"/>
                <a:ea typeface="Yu Mincho"/>
                <a:cs typeface="Arial"/>
              </a:rPr>
              <a:t> </a:t>
            </a:r>
            <a:endParaRPr lang="en-GB" sz="1000" i="1">
              <a:effectLst/>
              <a:latin typeface="Calibri" panose="020F0502020204030204" pitchFamily="34" charset="0"/>
              <a:ea typeface="Yu Mincho" panose="02020400000000000000" pitchFamily="18" charset="-128"/>
              <a:cs typeface="Arial" panose="020B0604020202020204" pitchFamily="34" charset="0"/>
            </a:endParaRPr>
          </a:p>
        </p:txBody>
      </p:sp>
      <p:pic>
        <p:nvPicPr>
          <p:cNvPr id="12" name="Picture 11" descr="Shape&#10;&#10;Description automatically generated with low confidence">
            <a:extLst>
              <a:ext uri="{FF2B5EF4-FFF2-40B4-BE49-F238E27FC236}">
                <a16:creationId xmlns:a16="http://schemas.microsoft.com/office/drawing/2014/main" id="{3325BF65-8019-96FA-CDF5-AF1C4467263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047" t="6000" r="6000" b="24755"/>
          <a:stretch/>
        </p:blipFill>
        <p:spPr>
          <a:xfrm>
            <a:off x="2044065" y="1516411"/>
            <a:ext cx="1420777" cy="958957"/>
          </a:xfrm>
          <a:prstGeom prst="rect">
            <a:avLst/>
          </a:prstGeom>
        </p:spPr>
      </p:pic>
      <p:pic>
        <p:nvPicPr>
          <p:cNvPr id="26" name="Picture 25" descr="Shape&#10;&#10;Description automatically generated with low confidence">
            <a:extLst>
              <a:ext uri="{FF2B5EF4-FFF2-40B4-BE49-F238E27FC236}">
                <a16:creationId xmlns:a16="http://schemas.microsoft.com/office/drawing/2014/main" id="{5387951C-15AC-85E6-90F0-F1BEB18637C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9161" t="8212" r="30356" b="35301"/>
          <a:stretch/>
        </p:blipFill>
        <p:spPr>
          <a:xfrm>
            <a:off x="2041435" y="3597752"/>
            <a:ext cx="834264" cy="1182597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76AD3EBF-BD94-733B-5604-8C190D17F77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223350" y="2823646"/>
            <a:ext cx="849883" cy="849883"/>
          </a:xfrm>
          <a:prstGeom prst="rect">
            <a:avLst/>
          </a:prstGeom>
        </p:spPr>
      </p:pic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B4114827-8961-436E-D983-45D92B0E8600}"/>
              </a:ext>
            </a:extLst>
          </p:cNvPr>
          <p:cNvCxnSpPr>
            <a:cxnSpLocks/>
          </p:cNvCxnSpPr>
          <p:nvPr/>
        </p:nvCxnSpPr>
        <p:spPr>
          <a:xfrm>
            <a:off x="3074483" y="2456995"/>
            <a:ext cx="253066" cy="306954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pSp>
        <p:nvGrpSpPr>
          <p:cNvPr id="74" name="Group 73">
            <a:extLst>
              <a:ext uri="{FF2B5EF4-FFF2-40B4-BE49-F238E27FC236}">
                <a16:creationId xmlns:a16="http://schemas.microsoft.com/office/drawing/2014/main" id="{921A86C4-9CF9-72E0-6EE0-A63755BBA5D7}"/>
              </a:ext>
            </a:extLst>
          </p:cNvPr>
          <p:cNvGrpSpPr/>
          <p:nvPr/>
        </p:nvGrpSpPr>
        <p:grpSpPr>
          <a:xfrm>
            <a:off x="6061173" y="2010611"/>
            <a:ext cx="1686959" cy="2006565"/>
            <a:chOff x="6170899" y="2616435"/>
            <a:chExt cx="1161066" cy="1381038"/>
          </a:xfrm>
        </p:grpSpPr>
        <p:pic>
          <p:nvPicPr>
            <p:cNvPr id="9" name="Graphic 8" descr="Database outline">
              <a:extLst>
                <a:ext uri="{FF2B5EF4-FFF2-40B4-BE49-F238E27FC236}">
                  <a16:creationId xmlns:a16="http://schemas.microsoft.com/office/drawing/2014/main" id="{C3EE5FEE-6148-F4A4-81C5-F6A6B5A3C55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193036" y="2880681"/>
              <a:ext cx="1116792" cy="1116792"/>
            </a:xfrm>
            <a:prstGeom prst="rect">
              <a:avLst/>
            </a:prstGeom>
          </p:spPr>
        </p:pic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ABAB3C68-3AA6-4F99-26A0-71C20742B233}"/>
                </a:ext>
              </a:extLst>
            </p:cNvPr>
            <p:cNvSpPr txBox="1"/>
            <p:nvPr/>
          </p:nvSpPr>
          <p:spPr>
            <a:xfrm>
              <a:off x="6170899" y="2616435"/>
              <a:ext cx="1161066" cy="36011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1400" b="1" i="1">
                  <a:effectLst/>
                  <a:latin typeface="+mj-lt"/>
                  <a:ea typeface="Calibri" panose="020F0502020204030204" pitchFamily="34" charset="0"/>
                  <a:cs typeface="Arial" panose="020B0604020202020204" pitchFamily="34" charset="0"/>
                </a:rPr>
                <a:t>Unified Experience Data </a:t>
              </a:r>
            </a:p>
          </p:txBody>
        </p:sp>
      </p:grpSp>
      <p:grpSp>
        <p:nvGrpSpPr>
          <p:cNvPr id="17423" name="Group 17422">
            <a:extLst>
              <a:ext uri="{FF2B5EF4-FFF2-40B4-BE49-F238E27FC236}">
                <a16:creationId xmlns:a16="http://schemas.microsoft.com/office/drawing/2014/main" id="{C704B168-6437-02EE-0E2C-CE6E57A38E9C}"/>
              </a:ext>
            </a:extLst>
          </p:cNvPr>
          <p:cNvGrpSpPr/>
          <p:nvPr/>
        </p:nvGrpSpPr>
        <p:grpSpPr>
          <a:xfrm>
            <a:off x="9284450" y="2377336"/>
            <a:ext cx="2129470" cy="1742502"/>
            <a:chOff x="8528364" y="3352909"/>
            <a:chExt cx="2474516" cy="2024846"/>
          </a:xfrm>
        </p:grpSpPr>
        <p:sp>
          <p:nvSpPr>
            <p:cNvPr id="17422" name="Rectangle: Rounded Corners 17421">
              <a:extLst>
                <a:ext uri="{FF2B5EF4-FFF2-40B4-BE49-F238E27FC236}">
                  <a16:creationId xmlns:a16="http://schemas.microsoft.com/office/drawing/2014/main" id="{89D67E92-FC35-9BEB-A0CF-8C57A75FACFA}"/>
                </a:ext>
              </a:extLst>
            </p:cNvPr>
            <p:cNvSpPr/>
            <p:nvPr/>
          </p:nvSpPr>
          <p:spPr>
            <a:xfrm>
              <a:off x="8528364" y="3352909"/>
              <a:ext cx="2474516" cy="2024846"/>
            </a:xfrm>
            <a:prstGeom prst="round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7418" name="Picture 10">
              <a:extLst>
                <a:ext uri="{FF2B5EF4-FFF2-40B4-BE49-F238E27FC236}">
                  <a16:creationId xmlns:a16="http://schemas.microsoft.com/office/drawing/2014/main" id="{74F9D913-2DE7-A74C-BD7E-5BEC9A231DF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64372" y="3533587"/>
              <a:ext cx="1817679" cy="18176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108" name="Straight Arrow Connector 107">
            <a:extLst>
              <a:ext uri="{FF2B5EF4-FFF2-40B4-BE49-F238E27FC236}">
                <a16:creationId xmlns:a16="http://schemas.microsoft.com/office/drawing/2014/main" id="{0190B1A9-2372-4A5B-0046-DB0DAD00EFAF}"/>
              </a:ext>
            </a:extLst>
          </p:cNvPr>
          <p:cNvCxnSpPr>
            <a:cxnSpLocks/>
          </p:cNvCxnSpPr>
          <p:nvPr/>
        </p:nvCxnSpPr>
        <p:spPr>
          <a:xfrm flipH="1">
            <a:off x="3101982" y="3706278"/>
            <a:ext cx="225567" cy="292548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Arrow Connector 116">
            <a:extLst>
              <a:ext uri="{FF2B5EF4-FFF2-40B4-BE49-F238E27FC236}">
                <a16:creationId xmlns:a16="http://schemas.microsoft.com/office/drawing/2014/main" id="{623A803B-CE6B-E436-2035-367BFAC31920}"/>
              </a:ext>
            </a:extLst>
          </p:cNvPr>
          <p:cNvCxnSpPr>
            <a:cxnSpLocks/>
          </p:cNvCxnSpPr>
          <p:nvPr/>
        </p:nvCxnSpPr>
        <p:spPr>
          <a:xfrm flipH="1">
            <a:off x="4148594" y="3269249"/>
            <a:ext cx="2052689" cy="0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410" name="Straight Arrow Connector 17409">
            <a:extLst>
              <a:ext uri="{FF2B5EF4-FFF2-40B4-BE49-F238E27FC236}">
                <a16:creationId xmlns:a16="http://schemas.microsoft.com/office/drawing/2014/main" id="{B5C6D99A-4CE1-D8F4-8B92-74DC5EAFF035}"/>
              </a:ext>
            </a:extLst>
          </p:cNvPr>
          <p:cNvCxnSpPr>
            <a:cxnSpLocks/>
          </p:cNvCxnSpPr>
          <p:nvPr/>
        </p:nvCxnSpPr>
        <p:spPr>
          <a:xfrm>
            <a:off x="7487107" y="3295617"/>
            <a:ext cx="912614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pSp>
        <p:nvGrpSpPr>
          <p:cNvPr id="17427" name="Group 17426">
            <a:extLst>
              <a:ext uri="{FF2B5EF4-FFF2-40B4-BE49-F238E27FC236}">
                <a16:creationId xmlns:a16="http://schemas.microsoft.com/office/drawing/2014/main" id="{1E766FC4-9957-1117-EC6E-5E0FCA2A2B45}"/>
              </a:ext>
            </a:extLst>
          </p:cNvPr>
          <p:cNvGrpSpPr/>
          <p:nvPr/>
        </p:nvGrpSpPr>
        <p:grpSpPr>
          <a:xfrm>
            <a:off x="9284450" y="801565"/>
            <a:ext cx="2129471" cy="1396373"/>
            <a:chOff x="8528364" y="1569897"/>
            <a:chExt cx="2474516" cy="1622632"/>
          </a:xfrm>
        </p:grpSpPr>
        <p:sp>
          <p:nvSpPr>
            <p:cNvPr id="17425" name="Rectangle: Rounded Corners 17424">
              <a:extLst>
                <a:ext uri="{FF2B5EF4-FFF2-40B4-BE49-F238E27FC236}">
                  <a16:creationId xmlns:a16="http://schemas.microsoft.com/office/drawing/2014/main" id="{C370189D-DA73-3188-BA4E-9FAF86CD1054}"/>
                </a:ext>
              </a:extLst>
            </p:cNvPr>
            <p:cNvSpPr/>
            <p:nvPr/>
          </p:nvSpPr>
          <p:spPr>
            <a:xfrm>
              <a:off x="8528364" y="1569897"/>
              <a:ext cx="2474516" cy="1622632"/>
            </a:xfrm>
            <a:prstGeom prst="round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7421" name="Picture 12" descr="Events Calendar Year View Demo | Timely">
              <a:extLst>
                <a:ext uri="{FF2B5EF4-FFF2-40B4-BE49-F238E27FC236}">
                  <a16:creationId xmlns:a16="http://schemas.microsoft.com/office/drawing/2014/main" id="{6A48D35B-D24F-4BE8-1B47-674E8979F80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379" t="12777" r="6993" b="15467"/>
            <a:stretch/>
          </p:blipFill>
          <p:spPr bwMode="auto">
            <a:xfrm>
              <a:off x="8727237" y="1833430"/>
              <a:ext cx="2146514" cy="12700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7431" name="Group 17430">
            <a:extLst>
              <a:ext uri="{FF2B5EF4-FFF2-40B4-BE49-F238E27FC236}">
                <a16:creationId xmlns:a16="http://schemas.microsoft.com/office/drawing/2014/main" id="{CA3620E5-69C9-ACC1-B290-CC32E21C6ED3}"/>
              </a:ext>
            </a:extLst>
          </p:cNvPr>
          <p:cNvGrpSpPr/>
          <p:nvPr/>
        </p:nvGrpSpPr>
        <p:grpSpPr>
          <a:xfrm>
            <a:off x="6168827" y="5051843"/>
            <a:ext cx="1461497" cy="838446"/>
            <a:chOff x="5814677" y="1458292"/>
            <a:chExt cx="2299862" cy="1319407"/>
          </a:xfrm>
        </p:grpSpPr>
        <p:pic>
          <p:nvPicPr>
            <p:cNvPr id="17428" name="Picture 14" descr="What are Azure Cognitive Services? - Azure Cognitive ...">
              <a:extLst>
                <a:ext uri="{FF2B5EF4-FFF2-40B4-BE49-F238E27FC236}">
                  <a16:creationId xmlns:a16="http://schemas.microsoft.com/office/drawing/2014/main" id="{5DD034A0-A75A-55D2-C617-D7DD83EDBBC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855" t="16039" r="24798" b="23566"/>
            <a:stretch/>
          </p:blipFill>
          <p:spPr bwMode="auto">
            <a:xfrm>
              <a:off x="6080443" y="1458292"/>
              <a:ext cx="1757651" cy="10542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430" name="TextBox 17429">
              <a:extLst>
                <a:ext uri="{FF2B5EF4-FFF2-40B4-BE49-F238E27FC236}">
                  <a16:creationId xmlns:a16="http://schemas.microsoft.com/office/drawing/2014/main" id="{11B95293-8575-A7E7-5EE6-91CDE2F8EBA0}"/>
                </a:ext>
              </a:extLst>
            </p:cNvPr>
            <p:cNvSpPr txBox="1"/>
            <p:nvPr/>
          </p:nvSpPr>
          <p:spPr>
            <a:xfrm>
              <a:off x="5814677" y="2447425"/>
              <a:ext cx="2299862" cy="3302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1100" b="1" i="1">
                  <a:effectLst/>
                  <a:latin typeface="+mj-lt"/>
                  <a:ea typeface="Calibri" panose="020F0502020204030204" pitchFamily="34" charset="0"/>
                  <a:cs typeface="Arial" panose="020B0604020202020204" pitchFamily="34" charset="0"/>
                </a:rPr>
                <a:t>Cognitive </a:t>
              </a:r>
              <a:r>
                <a:rPr lang="en-GB" sz="1100" b="1" i="1">
                  <a:latin typeface="+mj-lt"/>
                  <a:ea typeface="Calibri" panose="020F0502020204030204" pitchFamily="34" charset="0"/>
                  <a:cs typeface="Arial" panose="020B0604020202020204" pitchFamily="34" charset="0"/>
                </a:rPr>
                <a:t>S</a:t>
              </a:r>
              <a:r>
                <a:rPr lang="en-GB" sz="1100" b="1" i="1">
                  <a:effectLst/>
                  <a:latin typeface="+mj-lt"/>
                  <a:ea typeface="Calibri" panose="020F0502020204030204" pitchFamily="34" charset="0"/>
                  <a:cs typeface="Arial" panose="020B0604020202020204" pitchFamily="34" charset="0"/>
                </a:rPr>
                <a:t>ervices</a:t>
              </a:r>
            </a:p>
          </p:txBody>
        </p:sp>
      </p:grpSp>
      <p:pic>
        <p:nvPicPr>
          <p:cNvPr id="17436" name="Picture 17435" descr="Logo&#10;&#10;Description automatically generated">
            <a:extLst>
              <a:ext uri="{FF2B5EF4-FFF2-40B4-BE49-F238E27FC236}">
                <a16:creationId xmlns:a16="http://schemas.microsoft.com/office/drawing/2014/main" id="{79383673-DEAD-737F-5368-FFC6E724D06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636062" y="3063385"/>
            <a:ext cx="527029" cy="527282"/>
          </a:xfrm>
          <a:prstGeom prst="rect">
            <a:avLst/>
          </a:prstGeom>
        </p:spPr>
      </p:pic>
      <p:grpSp>
        <p:nvGrpSpPr>
          <p:cNvPr id="17445" name="Group 17444">
            <a:extLst>
              <a:ext uri="{FF2B5EF4-FFF2-40B4-BE49-F238E27FC236}">
                <a16:creationId xmlns:a16="http://schemas.microsoft.com/office/drawing/2014/main" id="{F8D07C16-7D66-DB07-82D2-3C0B5AF69DDF}"/>
              </a:ext>
            </a:extLst>
          </p:cNvPr>
          <p:cNvGrpSpPr/>
          <p:nvPr/>
        </p:nvGrpSpPr>
        <p:grpSpPr>
          <a:xfrm>
            <a:off x="9266543" y="4344799"/>
            <a:ext cx="2147377" cy="1757155"/>
            <a:chOff x="8528364" y="4728927"/>
            <a:chExt cx="2147377" cy="1757155"/>
          </a:xfrm>
        </p:grpSpPr>
        <p:sp>
          <p:nvSpPr>
            <p:cNvPr id="17442" name="Rectangle: Rounded Corners 17441">
              <a:extLst>
                <a:ext uri="{FF2B5EF4-FFF2-40B4-BE49-F238E27FC236}">
                  <a16:creationId xmlns:a16="http://schemas.microsoft.com/office/drawing/2014/main" id="{B0D7E532-B4AD-7476-90F8-042582717ED1}"/>
                </a:ext>
              </a:extLst>
            </p:cNvPr>
            <p:cNvSpPr/>
            <p:nvPr/>
          </p:nvSpPr>
          <p:spPr>
            <a:xfrm>
              <a:off x="8528364" y="4728927"/>
              <a:ext cx="2147377" cy="1757155"/>
            </a:xfrm>
            <a:prstGeom prst="round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7444" name="Picture 18" descr="Premium Vector | Flat chat bot for web design flat isometric vector  illustration artificial intelligence">
              <a:extLst>
                <a:ext uri="{FF2B5EF4-FFF2-40B4-BE49-F238E27FC236}">
                  <a16:creationId xmlns:a16="http://schemas.microsoft.com/office/drawing/2014/main" id="{8A00B606-9EDC-C20F-82EA-2EEB8C93200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23205" y="4969158"/>
              <a:ext cx="1786383" cy="14772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7446" name="TextBox 17445">
            <a:extLst>
              <a:ext uri="{FF2B5EF4-FFF2-40B4-BE49-F238E27FC236}">
                <a16:creationId xmlns:a16="http://schemas.microsoft.com/office/drawing/2014/main" id="{842868ED-AD25-1D88-9F7C-D4D598EA9168}"/>
              </a:ext>
            </a:extLst>
          </p:cNvPr>
          <p:cNvSpPr txBox="1"/>
          <p:nvPr/>
        </p:nvSpPr>
        <p:spPr>
          <a:xfrm>
            <a:off x="9393503" y="810702"/>
            <a:ext cx="195796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 i="1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Activation Schedule</a:t>
            </a:r>
          </a:p>
        </p:txBody>
      </p:sp>
      <p:sp>
        <p:nvSpPr>
          <p:cNvPr id="17447" name="TextBox 17446">
            <a:extLst>
              <a:ext uri="{FF2B5EF4-FFF2-40B4-BE49-F238E27FC236}">
                <a16:creationId xmlns:a16="http://schemas.microsoft.com/office/drawing/2014/main" id="{F462FB9B-73ED-EE43-B2FE-95839315AD8A}"/>
              </a:ext>
            </a:extLst>
          </p:cNvPr>
          <p:cNvSpPr txBox="1"/>
          <p:nvPr/>
        </p:nvSpPr>
        <p:spPr>
          <a:xfrm>
            <a:off x="9376736" y="2356552"/>
            <a:ext cx="195796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 i="1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Activation Insights</a:t>
            </a:r>
          </a:p>
        </p:txBody>
      </p:sp>
      <p:sp>
        <p:nvSpPr>
          <p:cNvPr id="17448" name="TextBox 17447">
            <a:extLst>
              <a:ext uri="{FF2B5EF4-FFF2-40B4-BE49-F238E27FC236}">
                <a16:creationId xmlns:a16="http://schemas.microsoft.com/office/drawing/2014/main" id="{5571E017-C427-AA6C-61E9-7C6FD8BD94BB}"/>
              </a:ext>
            </a:extLst>
          </p:cNvPr>
          <p:cNvSpPr txBox="1"/>
          <p:nvPr/>
        </p:nvSpPr>
        <p:spPr>
          <a:xfrm>
            <a:off x="9356793" y="4344799"/>
            <a:ext cx="195796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 i="1">
                <a:latin typeface="+mj-lt"/>
                <a:cs typeface="Arial" panose="020B0604020202020204" pitchFamily="34" charset="0"/>
              </a:rPr>
              <a:t>Conversational Insights</a:t>
            </a:r>
          </a:p>
        </p:txBody>
      </p:sp>
      <p:cxnSp>
        <p:nvCxnSpPr>
          <p:cNvPr id="17449" name="Straight Arrow Connector 17448">
            <a:extLst>
              <a:ext uri="{FF2B5EF4-FFF2-40B4-BE49-F238E27FC236}">
                <a16:creationId xmlns:a16="http://schemas.microsoft.com/office/drawing/2014/main" id="{976D89D6-317D-22C9-529B-41AB3294C1C4}"/>
              </a:ext>
            </a:extLst>
          </p:cNvPr>
          <p:cNvCxnSpPr>
            <a:cxnSpLocks/>
            <a:stCxn id="9" idx="2"/>
          </p:cNvCxnSpPr>
          <p:nvPr/>
        </p:nvCxnSpPr>
        <p:spPr>
          <a:xfrm flipH="1">
            <a:off x="6899576" y="4017176"/>
            <a:ext cx="5077" cy="902523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7462" name="Left Brace 17461">
            <a:extLst>
              <a:ext uri="{FF2B5EF4-FFF2-40B4-BE49-F238E27FC236}">
                <a16:creationId xmlns:a16="http://schemas.microsoft.com/office/drawing/2014/main" id="{F27AD8AF-A1B7-EC92-B4A3-0C47BA071C4D}"/>
              </a:ext>
            </a:extLst>
          </p:cNvPr>
          <p:cNvSpPr/>
          <p:nvPr/>
        </p:nvSpPr>
        <p:spPr>
          <a:xfrm>
            <a:off x="8430391" y="1506944"/>
            <a:ext cx="623887" cy="3640164"/>
          </a:xfrm>
          <a:prstGeom prst="leftBrace">
            <a:avLst>
              <a:gd name="adj1" fmla="val 8333"/>
              <a:gd name="adj2" fmla="val 49124"/>
            </a:avLst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970897-BA48-A608-693C-C026A2C0E96E}"/>
              </a:ext>
            </a:extLst>
          </p:cNvPr>
          <p:cNvSpPr txBox="1"/>
          <p:nvPr/>
        </p:nvSpPr>
        <p:spPr>
          <a:xfrm>
            <a:off x="277567" y="3998350"/>
            <a:ext cx="1814363" cy="18516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spcAft>
                <a:spcPts val="1000"/>
              </a:spcAft>
            </a:pPr>
            <a:r>
              <a:rPr lang="en-GB" sz="1000" b="1" i="1">
                <a:effectLst/>
                <a:latin typeface="Momo Neue"/>
                <a:ea typeface="Yu Mincho" panose="02020400000000000000" pitchFamily="18" charset="-128"/>
                <a:cs typeface="Arial" panose="020B0604020202020204" pitchFamily="34" charset="0"/>
              </a:rPr>
              <a:t>Field Management</a:t>
            </a:r>
            <a:br>
              <a:rPr lang="en-GB" sz="1000" i="1">
                <a:effectLst/>
                <a:latin typeface="Momo Neue"/>
                <a:ea typeface="Yu Mincho" panose="02020400000000000000" pitchFamily="18" charset="-128"/>
                <a:cs typeface="Arial" panose="020B0604020202020204" pitchFamily="34" charset="0"/>
              </a:rPr>
            </a:br>
            <a:r>
              <a:rPr lang="en-GB" sz="1000" i="1">
                <a:effectLst/>
                <a:latin typeface="Momo Neue"/>
                <a:ea typeface="Yu Mincho" panose="02020400000000000000" pitchFamily="18" charset="-128"/>
                <a:cs typeface="Arial" panose="020B0604020202020204" pitchFamily="34" charset="0"/>
              </a:rPr>
              <a:t>Portfolio-wide standardized system for managing </a:t>
            </a:r>
            <a:r>
              <a:rPr lang="en-GB" sz="1000" b="0" i="1">
                <a:solidFill>
                  <a:srgbClr val="374151"/>
                </a:solidFill>
                <a:effectLst/>
                <a:latin typeface="Söhne"/>
              </a:rPr>
              <a:t>event details, assets, and on-site wrap information. It includes a cloud/web-based tool accessible from anywhere for real-time updates and version control, eliminating the need for multiple spreadsheets. </a:t>
            </a:r>
            <a:endParaRPr lang="en-GB" sz="1000" i="1">
              <a:effectLst/>
              <a:latin typeface="Calibri" panose="020F0502020204030204" pitchFamily="34" charset="0"/>
              <a:ea typeface="Yu Mincho" panose="02020400000000000000" pitchFamily="18" charset="-128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1556F7E-7CB3-F061-047F-4865923A0FAE}"/>
              </a:ext>
            </a:extLst>
          </p:cNvPr>
          <p:cNvSpPr txBox="1"/>
          <p:nvPr/>
        </p:nvSpPr>
        <p:spPr>
          <a:xfrm>
            <a:off x="360777" y="787985"/>
            <a:ext cx="856469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100" b="0" i="0">
                <a:solidFill>
                  <a:srgbClr val="202124"/>
                </a:solidFill>
                <a:effectLst/>
                <a:latin typeface="+mj-lt"/>
              </a:rPr>
              <a:t>Unified data </a:t>
            </a:r>
            <a:r>
              <a:rPr lang="en-GB" sz="1100" b="0" i="0">
                <a:solidFill>
                  <a:srgbClr val="040C28"/>
                </a:solidFill>
                <a:effectLst/>
                <a:latin typeface="+mj-lt"/>
              </a:rPr>
              <a:t>aggregates data from disparate sources into a single view providing complete and accurate answers to critical questions</a:t>
            </a:r>
            <a:r>
              <a:rPr lang="en-GB" sz="1100">
                <a:solidFill>
                  <a:srgbClr val="040C28"/>
                </a:solidFill>
                <a:latin typeface="+mj-lt"/>
              </a:rPr>
              <a:t>.</a:t>
            </a:r>
            <a:endParaRPr lang="en-GB" sz="1100"/>
          </a:p>
        </p:txBody>
      </p:sp>
      <p:pic>
        <p:nvPicPr>
          <p:cNvPr id="3" name="Picture 2" descr="Shape&#10;&#10;Description automatically generated with low confidence">
            <a:extLst>
              <a:ext uri="{FF2B5EF4-FFF2-40B4-BE49-F238E27FC236}">
                <a16:creationId xmlns:a16="http://schemas.microsoft.com/office/drawing/2014/main" id="{97C3C2CA-D859-E34A-27DA-D02D6A34231F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b="17708"/>
          <a:stretch/>
        </p:blipFill>
        <p:spPr>
          <a:xfrm>
            <a:off x="3081965" y="4848507"/>
            <a:ext cx="1033652" cy="850134"/>
          </a:xfrm>
          <a:prstGeom prst="rect">
            <a:avLst/>
          </a:prstGeom>
        </p:spPr>
      </p:pic>
      <p:sp>
        <p:nvSpPr>
          <p:cNvPr id="5" name="TextBox 2">
            <a:extLst>
              <a:ext uri="{FF2B5EF4-FFF2-40B4-BE49-F238E27FC236}">
                <a16:creationId xmlns:a16="http://schemas.microsoft.com/office/drawing/2014/main" id="{452E8557-B775-FC3A-6981-1C18280DBC28}"/>
              </a:ext>
            </a:extLst>
          </p:cNvPr>
          <p:cNvSpPr txBox="1"/>
          <p:nvPr/>
        </p:nvSpPr>
        <p:spPr>
          <a:xfrm>
            <a:off x="2757607" y="5758627"/>
            <a:ext cx="1878432" cy="55399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00" b="1" i="1">
                <a:latin typeface="Momo Neue"/>
                <a:ea typeface="Yu Mincho"/>
                <a:cs typeface="Arial"/>
              </a:rPr>
              <a:t>Other systems:</a:t>
            </a:r>
            <a:r>
              <a:rPr lang="en-GB" sz="1000" i="1">
                <a:latin typeface="Momo Neue"/>
                <a:ea typeface="Yu Mincho"/>
                <a:cs typeface="Arial"/>
              </a:rPr>
              <a:t> Walmart Hub, Splash, Placer data, Client owned systems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9B917884-5E43-60D9-EF23-A09763E844FE}"/>
              </a:ext>
            </a:extLst>
          </p:cNvPr>
          <p:cNvCxnSpPr>
            <a:cxnSpLocks/>
          </p:cNvCxnSpPr>
          <p:nvPr/>
        </p:nvCxnSpPr>
        <p:spPr>
          <a:xfrm>
            <a:off x="3657650" y="3854800"/>
            <a:ext cx="572" cy="745743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56757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557EEF6-07E1-F7EA-3779-6A6EDEECCB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839" y="381307"/>
            <a:ext cx="11353800" cy="5859916"/>
          </a:xfrm>
        </p:spPr>
        <p:txBody>
          <a:bodyPr/>
          <a:lstStyle/>
          <a:p>
            <a:r>
              <a:rPr lang="en-GB">
                <a:latin typeface="Arial Black"/>
              </a:rPr>
              <a:t>OUR GOALS / WHY UXP? 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1C845B-4AD0-6BF3-7663-7F7C3ECC82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76318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16D3F0-FE0D-C2B0-CE61-A70164340B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latin typeface="Arial Black"/>
              </a:rPr>
              <a:t>OBJECTIVES</a:t>
            </a:r>
            <a:br>
              <a:rPr lang="en-GB"/>
            </a:b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ADAF88-FC6A-85BF-32D4-A9CC9E0BC6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9100" y="1238250"/>
            <a:ext cx="11353800" cy="4381499"/>
          </a:xfrm>
        </p:spPr>
        <p:txBody>
          <a:bodyPr>
            <a:normAutofit/>
          </a:bodyPr>
          <a:lstStyle/>
          <a:p>
            <a:r>
              <a:rPr lang="en-GB" sz="1800" b="0" i="0">
                <a:solidFill>
                  <a:srgbClr val="374151"/>
                </a:solidFill>
                <a:effectLst/>
                <a:latin typeface="Poppins" panose="00000500000000000000" pitchFamily="2" charset="0"/>
                <a:cs typeface="Poppins" panose="00000500000000000000" pitchFamily="2" charset="0"/>
              </a:rPr>
              <a:t>Establish a unified data model</a:t>
            </a:r>
          </a:p>
          <a:p>
            <a:r>
              <a:rPr lang="en-GB" sz="1800" b="0" i="0">
                <a:solidFill>
                  <a:srgbClr val="374151"/>
                </a:solidFill>
                <a:effectLst/>
                <a:latin typeface="Poppins" panose="00000500000000000000" pitchFamily="2" charset="0"/>
                <a:cs typeface="Poppins" panose="00000500000000000000" pitchFamily="2" charset="0"/>
              </a:rPr>
              <a:t>Generate a consistent Global Unique Identifier (GUID) for each activation</a:t>
            </a:r>
          </a:p>
          <a:p>
            <a:r>
              <a:rPr lang="en-GB" sz="1800" b="0" i="0">
                <a:solidFill>
                  <a:srgbClr val="374151"/>
                </a:solidFill>
                <a:effectLst/>
                <a:latin typeface="Poppins" panose="00000500000000000000" pitchFamily="2" charset="0"/>
                <a:cs typeface="Poppins" panose="00000500000000000000" pitchFamily="2" charset="0"/>
              </a:rPr>
              <a:t>Create a </a:t>
            </a:r>
            <a:r>
              <a:rPr lang="en-GB" sz="1800">
                <a:solidFill>
                  <a:srgbClr val="37415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ethod to capture all activations. </a:t>
            </a:r>
            <a:r>
              <a:rPr lang="en-GB" sz="1800" b="0" i="0">
                <a:solidFill>
                  <a:srgbClr val="374151"/>
                </a:solidFill>
                <a:effectLst/>
                <a:latin typeface="Poppins" panose="00000500000000000000" pitchFamily="2" charset="0"/>
                <a:cs typeface="Poppins" panose="00000500000000000000" pitchFamily="2" charset="0"/>
              </a:rPr>
              <a:t>Identifying owners, types, dates, and locations</a:t>
            </a:r>
            <a:endParaRPr lang="en-GB" sz="1800">
              <a:solidFill>
                <a:srgbClr val="37415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r>
              <a:rPr lang="en-GB" sz="1800">
                <a:solidFill>
                  <a:srgbClr val="37415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G</a:t>
            </a:r>
            <a:r>
              <a:rPr lang="en-GB" sz="1800" b="0" i="0">
                <a:solidFill>
                  <a:srgbClr val="374151"/>
                </a:solidFill>
                <a:effectLst/>
                <a:latin typeface="Poppins" panose="00000500000000000000" pitchFamily="2" charset="0"/>
                <a:cs typeface="Poppins" panose="00000500000000000000" pitchFamily="2" charset="0"/>
              </a:rPr>
              <a:t>enerate a master campaign Identifier (Parent ID) and an event date Identifier (Event ID)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800" b="0" i="0">
                <a:solidFill>
                  <a:srgbClr val="374151"/>
                </a:solidFill>
                <a:effectLst/>
                <a:latin typeface="Poppins" panose="00000500000000000000" pitchFamily="2" charset="0"/>
                <a:cs typeface="Poppins" panose="00000500000000000000" pitchFamily="2" charset="0"/>
              </a:rPr>
              <a:t>Create the ability to integrate post-event metrics from other system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800" b="0" i="0">
                <a:solidFill>
                  <a:srgbClr val="374151"/>
                </a:solidFill>
                <a:effectLst/>
                <a:latin typeface="Poppins" panose="00000500000000000000" pitchFamily="2" charset="0"/>
                <a:cs typeface="Poppins" panose="00000500000000000000" pitchFamily="2" charset="0"/>
              </a:rPr>
              <a:t>Create the ability to integrate with event management systems used by Momentum</a:t>
            </a:r>
          </a:p>
          <a:p>
            <a:endParaRPr lang="en-GB" sz="180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5BF0D0-8451-B301-C0FA-313F3A3AEE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51360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C338E4A-49CC-16A6-4A44-BC83AB9EEF11}"/>
              </a:ext>
            </a:extLst>
          </p:cNvPr>
          <p:cNvSpPr/>
          <p:nvPr/>
        </p:nvSpPr>
        <p:spPr>
          <a:xfrm>
            <a:off x="0" y="6362698"/>
            <a:ext cx="3981157" cy="5130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E93B74-FD66-7C54-9026-19EE8BA687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06B5E5F-2854-DDA1-AEA8-3BB9E581E60F}"/>
              </a:ext>
            </a:extLst>
          </p:cNvPr>
          <p:cNvSpPr txBox="1">
            <a:spLocks/>
          </p:cNvSpPr>
          <p:nvPr/>
        </p:nvSpPr>
        <p:spPr>
          <a:xfrm>
            <a:off x="419000" y="502784"/>
            <a:ext cx="10560540" cy="33855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spcAft>
                <a:spcPts val="1600"/>
              </a:spcAft>
              <a:buNone/>
              <a:defRPr sz="2800" b="0" i="0" kern="1200">
                <a:solidFill>
                  <a:schemeClr val="tx1"/>
                </a:solidFill>
                <a:latin typeface="Poppins" pitchFamily="2" charset="77"/>
                <a:ea typeface="Poppins" pitchFamily="2" charset="77"/>
                <a:cs typeface="Poppins" pitchFamily="2" charset="77"/>
              </a:defRPr>
            </a:lvl1pPr>
          </a:lstStyle>
          <a:p>
            <a:r>
              <a:rPr lang="en-US" sz="2500" cap="all">
                <a:latin typeface="Poppins Black"/>
                <a:cs typeface="Poppins Black"/>
              </a:rPr>
              <a:t>Unified experience platform – TOOLS &amp; WORKFLOW</a:t>
            </a:r>
            <a:endParaRPr lang="en-US" sz="2500" cap="all">
              <a:solidFill>
                <a:schemeClr val="accent1"/>
              </a:solidFill>
              <a:latin typeface="Poppins Black"/>
              <a:cs typeface="Poppins Black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B80833E-3475-F8BE-391E-E2EE109A0B99}"/>
              </a:ext>
            </a:extLst>
          </p:cNvPr>
          <p:cNvSpPr txBox="1"/>
          <p:nvPr/>
        </p:nvSpPr>
        <p:spPr>
          <a:xfrm>
            <a:off x="275473" y="1422523"/>
            <a:ext cx="4897567" cy="32778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27000">
              <a:spcAft>
                <a:spcPts val="1800"/>
              </a:spcAft>
              <a:buClr>
                <a:schemeClr val="dk1"/>
              </a:buClr>
              <a:buSzPts val="1600"/>
            </a:pPr>
            <a:r>
              <a:rPr lang="en-GB" sz="1600" b="1">
                <a:latin typeface="Poppins" panose="00000500000000000000" pitchFamily="2" charset="0"/>
                <a:cs typeface="Poppins" panose="00000500000000000000" pitchFamily="2" charset="0"/>
              </a:rPr>
              <a:t>WHERE IS THE DATA?</a:t>
            </a:r>
            <a:endParaRPr lang="en-US" sz="1600" b="1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27000">
              <a:spcAft>
                <a:spcPts val="1800"/>
              </a:spcAft>
              <a:buClr>
                <a:schemeClr val="dk1"/>
              </a:buClr>
              <a:buSzPts val="1600"/>
            </a:pPr>
            <a:r>
              <a:rPr lang="en-GB" sz="1600">
                <a:latin typeface="Poppins" panose="00000500000000000000" pitchFamily="2" charset="0"/>
                <a:cs typeface="Poppins" panose="00000500000000000000" pitchFamily="2" charset="0"/>
              </a:rPr>
              <a:t>To realize Momentum's ambition of becoming the "Nielsen of Experiences," it is essential to implement a unified data strategy and establish robust data governance.</a:t>
            </a:r>
            <a:br>
              <a:rPr lang="en-GB" sz="1600">
                <a:latin typeface="Poppins" panose="00000500000000000000" pitchFamily="2" charset="0"/>
                <a:cs typeface="Poppins" panose="00000500000000000000" pitchFamily="2" charset="0"/>
              </a:rPr>
            </a:br>
            <a:br>
              <a:rPr lang="en-GB" sz="1600"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lang="en-GB" sz="1600">
                <a:latin typeface="Poppins" panose="00000500000000000000" pitchFamily="2" charset="0"/>
                <a:cs typeface="Poppins" panose="00000500000000000000" pitchFamily="2" charset="0"/>
                <a:sym typeface="Poppins Light"/>
              </a:rPr>
              <a:t>Creating a unified data model with both structured and unstructured data requires careful planning, organization, and analysis, to result in more valuable insights and a better understanding of complex data.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9572257-5474-954E-07A6-031D7C6F622C}"/>
              </a:ext>
            </a:extLst>
          </p:cNvPr>
          <p:cNvGrpSpPr/>
          <p:nvPr/>
        </p:nvGrpSpPr>
        <p:grpSpPr>
          <a:xfrm>
            <a:off x="7018961" y="1476008"/>
            <a:ext cx="3940383" cy="3224335"/>
            <a:chOff x="8528364" y="3352909"/>
            <a:chExt cx="2474516" cy="2024846"/>
          </a:xfrm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F02D2094-7225-3F39-F2A1-969432B20E75}"/>
                </a:ext>
              </a:extLst>
            </p:cNvPr>
            <p:cNvSpPr/>
            <p:nvPr/>
          </p:nvSpPr>
          <p:spPr>
            <a:xfrm>
              <a:off x="8528364" y="3352909"/>
              <a:ext cx="2474516" cy="2024846"/>
            </a:xfrm>
            <a:prstGeom prst="round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40" tIns="45720" rIns="91440" bIns="45720" rtlCol="0" anchor="ctr"/>
            <a:lstStyle/>
            <a:p>
              <a:pPr algn="ctr"/>
              <a:endParaRPr lang="en-GB">
                <a:latin typeface="Poppins Light"/>
                <a:cs typeface="Poppins Light"/>
              </a:endParaRPr>
            </a:p>
          </p:txBody>
        </p:sp>
        <p:pic>
          <p:nvPicPr>
            <p:cNvPr id="14" name="Picture 10">
              <a:extLst>
                <a:ext uri="{FF2B5EF4-FFF2-40B4-BE49-F238E27FC236}">
                  <a16:creationId xmlns:a16="http://schemas.microsoft.com/office/drawing/2014/main" id="{F701FE49-99B7-3CFE-A8C9-D080CBE554B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79589" y="3534761"/>
              <a:ext cx="1631463" cy="16314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A4C6882F-4400-3B0A-DB5D-4D6E18D98E12}"/>
              </a:ext>
            </a:extLst>
          </p:cNvPr>
          <p:cNvSpPr txBox="1"/>
          <p:nvPr/>
        </p:nvSpPr>
        <p:spPr>
          <a:xfrm>
            <a:off x="419000" y="877253"/>
            <a:ext cx="10405167" cy="3385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600" b="1">
                <a:latin typeface="Poppins" panose="00000500000000000000" pitchFamily="2" charset="0"/>
                <a:ea typeface="Helvetica Neue Light" panose="02000403000000020004" pitchFamily="2" charset="0"/>
                <a:cs typeface="Poppins" panose="00000500000000000000" pitchFamily="2" charset="0"/>
              </a:rPr>
              <a:t>ACTION:</a:t>
            </a:r>
            <a:r>
              <a:rPr lang="en-GB" sz="1600" b="1">
                <a:latin typeface="Poppins" panose="00000500000000000000" pitchFamily="2" charset="0"/>
                <a:ea typeface="Helvetica Neue Light" panose="02000403000000020004" pitchFamily="2" charset="0"/>
                <a:cs typeface="Poppins" panose="00000500000000000000" pitchFamily="2" charset="0"/>
              </a:rPr>
              <a:t> </a:t>
            </a:r>
            <a:r>
              <a:rPr lang="en-GB" sz="1600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Develop an application that can gather and unify data </a:t>
            </a:r>
            <a:r>
              <a:rPr lang="en-GB" sz="1600">
                <a:latin typeface="Poppins" panose="00000500000000000000" pitchFamily="2" charset="0"/>
                <a:ea typeface="Helvetica Neue Light" panose="02000403000000020004" pitchFamily="2" charset="0"/>
                <a:cs typeface="Poppins" panose="00000500000000000000" pitchFamily="2" charset="0"/>
              </a:rPr>
              <a:t>using the Microsoft Power Platform. </a:t>
            </a:r>
            <a:endParaRPr lang="en-US" sz="160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48272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E01080-880A-B173-38A7-25884D6F79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500"/>
              <a:t>KEY DELIVERAB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C11859-4542-8B7C-D1B8-1375A50358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9100" y="1238250"/>
            <a:ext cx="11353800" cy="4381499"/>
          </a:xfrm>
        </p:spPr>
        <p:txBody>
          <a:bodyPr vert="horz" lIns="0" tIns="0" rIns="0" bIns="0" rtlCol="0" anchor="t">
            <a:normAutofit fontScale="77500" lnSpcReduction="20000"/>
          </a:bodyPr>
          <a:lstStyle/>
          <a:p>
            <a:pPr marL="342900" indent="-342900">
              <a:lnSpc>
                <a:spcPct val="115000"/>
              </a:lnSpc>
              <a:buFont typeface="+mj-lt"/>
              <a:buAutoNum type="arabicPeriod"/>
            </a:pPr>
            <a:r>
              <a:rPr lang="en-GB" sz="1800" b="1">
                <a:effectLst/>
                <a:latin typeface="Momo Neue"/>
                <a:ea typeface="Yu Mincho"/>
                <a:cs typeface="Arial"/>
              </a:rPr>
              <a:t>Unified Experience </a:t>
            </a:r>
            <a:r>
              <a:rPr lang="en-GB" sz="1800" b="1">
                <a:latin typeface="Momo Neue"/>
                <a:ea typeface="Yu Mincho"/>
                <a:cs typeface="Arial"/>
              </a:rPr>
              <a:t>Platform</a:t>
            </a:r>
            <a:r>
              <a:rPr lang="en-GB" sz="1800" b="1">
                <a:effectLst/>
                <a:latin typeface="Momo Neue"/>
                <a:ea typeface="Yu Mincho"/>
                <a:cs typeface="Arial"/>
              </a:rPr>
              <a:t> (</a:t>
            </a:r>
            <a:r>
              <a:rPr lang="en-GB" sz="1800" b="1">
                <a:latin typeface="Momo Neue"/>
                <a:ea typeface="Yu Mincho"/>
                <a:cs typeface="Arial"/>
              </a:rPr>
              <a:t>UXP</a:t>
            </a:r>
            <a:r>
              <a:rPr lang="en-GB" sz="1800" b="1">
                <a:effectLst/>
                <a:latin typeface="Momo Neue"/>
                <a:ea typeface="Yu Mincho"/>
                <a:cs typeface="Arial"/>
              </a:rPr>
              <a:t>) and Input Procedure</a:t>
            </a:r>
            <a:br>
              <a:rPr lang="en-GB" sz="1800">
                <a:effectLst/>
                <a:latin typeface="Momo Neue"/>
                <a:ea typeface="Yu Mincho" panose="02020400000000000000" pitchFamily="18" charset="-128"/>
                <a:cs typeface="Arial" panose="020B0604020202020204" pitchFamily="34" charset="0"/>
              </a:rPr>
            </a:br>
            <a:r>
              <a:rPr lang="en-GB" sz="1800">
                <a:effectLst/>
                <a:latin typeface="Momo Neue"/>
                <a:ea typeface="Yu Mincho"/>
                <a:cs typeface="Arial"/>
              </a:rPr>
              <a:t>A front-end Input application and organization-wide process/system for collecting Activation Details and information: Activation Name, Activation Date, Activation Client, and Activation Location.</a:t>
            </a:r>
            <a:r>
              <a:rPr lang="en-GB" sz="1800">
                <a:latin typeface="Momo Neue"/>
                <a:ea typeface="Yu Mincho"/>
                <a:cs typeface="Arial"/>
              </a:rPr>
              <a:t> </a:t>
            </a:r>
            <a:endParaRPr lang="en-GB" sz="1800">
              <a:effectLst/>
              <a:latin typeface="Calibri" panose="020F0502020204030204" pitchFamily="34" charset="0"/>
              <a:ea typeface="Yu Mincho" panose="02020400000000000000" pitchFamily="18" charset="-128"/>
              <a:cs typeface="Arial" panose="020B0604020202020204" pitchFamily="34" charset="0"/>
            </a:endParaRPr>
          </a:p>
          <a:p>
            <a:pPr marL="342900" indent="-342900">
              <a:lnSpc>
                <a:spcPct val="115000"/>
              </a:lnSpc>
              <a:buFont typeface="+mj-lt"/>
              <a:buAutoNum type="arabicPeriod"/>
            </a:pPr>
            <a:r>
              <a:rPr lang="en-GB" sz="1800" b="1">
                <a:effectLst/>
                <a:latin typeface="Momo Neue"/>
                <a:ea typeface="Yu Mincho"/>
                <a:cs typeface="Arial"/>
              </a:rPr>
              <a:t>Unified Experience Datawarehouse &amp; APIs</a:t>
            </a:r>
            <a:br>
              <a:rPr lang="en-GB" sz="1800">
                <a:effectLst/>
                <a:latin typeface="Momo Neue"/>
                <a:ea typeface="Yu Mincho" panose="02020400000000000000" pitchFamily="18" charset="-128"/>
                <a:cs typeface="Arial" panose="020B0604020202020204" pitchFamily="34" charset="0"/>
              </a:rPr>
            </a:br>
            <a:r>
              <a:rPr lang="en-GB" sz="1800">
                <a:effectLst/>
                <a:latin typeface="Momo Neue"/>
                <a:ea typeface="Yu Mincho"/>
                <a:cs typeface="Arial"/>
              </a:rPr>
              <a:t>One location for all IDs and data generated from </a:t>
            </a:r>
            <a:r>
              <a:rPr lang="en-GB" sz="1800">
                <a:latin typeface="Momo Neue"/>
                <a:ea typeface="Yu Mincho"/>
                <a:cs typeface="Arial"/>
              </a:rPr>
              <a:t>UXP</a:t>
            </a:r>
            <a:r>
              <a:rPr lang="en-GB" sz="1800">
                <a:effectLst/>
                <a:latin typeface="Momo Neue"/>
                <a:ea typeface="Yu Mincho"/>
                <a:cs typeface="Arial"/>
              </a:rPr>
              <a:t>. </a:t>
            </a:r>
            <a:br>
              <a:rPr lang="en-GB" sz="1800">
                <a:effectLst/>
                <a:latin typeface="Momo Neue"/>
                <a:ea typeface="Yu Mincho" panose="02020400000000000000" pitchFamily="18" charset="-128"/>
                <a:cs typeface="Arial" panose="020B0604020202020204" pitchFamily="34" charset="0"/>
              </a:rPr>
            </a:br>
            <a:r>
              <a:rPr lang="en-GB" sz="1800">
                <a:effectLst/>
                <a:latin typeface="Momo Neue"/>
                <a:ea typeface="Yu Mincho"/>
                <a:cs typeface="Arial"/>
              </a:rPr>
              <a:t>Data models and processes (ETL) to manage changes/updates within </a:t>
            </a:r>
            <a:r>
              <a:rPr lang="en-GB" sz="1800">
                <a:latin typeface="Momo Neue"/>
                <a:ea typeface="Yu Mincho"/>
                <a:cs typeface="Arial"/>
              </a:rPr>
              <a:t>UXP </a:t>
            </a:r>
            <a:br>
              <a:rPr lang="en-GB" sz="1800">
                <a:effectLst/>
                <a:latin typeface="Momo Neue"/>
                <a:ea typeface="Yu Mincho" panose="02020400000000000000" pitchFamily="18" charset="-128"/>
                <a:cs typeface="Arial" panose="020B0604020202020204" pitchFamily="34" charset="0"/>
              </a:rPr>
            </a:br>
            <a:r>
              <a:rPr lang="en-GB" sz="1800">
                <a:effectLst/>
                <a:latin typeface="Momo Neue"/>
                <a:ea typeface="Yu Mincho"/>
                <a:cs typeface="Arial"/>
              </a:rPr>
              <a:t>Centralized data infrastructure that can be enriched with additional IDs and data from other 3rd party systems. </a:t>
            </a:r>
            <a:br>
              <a:rPr lang="en-GB" sz="1800">
                <a:effectLst/>
                <a:latin typeface="Momo Neue"/>
                <a:ea typeface="Yu Mincho" panose="02020400000000000000" pitchFamily="18" charset="-128"/>
                <a:cs typeface="Arial" panose="020B0604020202020204" pitchFamily="34" charset="0"/>
              </a:rPr>
            </a:br>
            <a:r>
              <a:rPr lang="en-GB" sz="1800">
                <a:effectLst/>
                <a:latin typeface="Momo Neue"/>
                <a:ea typeface="Yu Mincho"/>
                <a:cs typeface="Arial"/>
              </a:rPr>
              <a:t>Bidirectional APIs to communicate with 3rd party services to send and receive data.</a:t>
            </a:r>
            <a:endParaRPr lang="en-GB" sz="1800">
              <a:effectLst/>
              <a:latin typeface="Calibri" panose="020F0502020204030204" pitchFamily="34" charset="0"/>
              <a:ea typeface="Yu Mincho"/>
              <a:cs typeface="Arial"/>
            </a:endParaRPr>
          </a:p>
          <a:p>
            <a:pPr marL="342900" lvl="0" indent="-342900">
              <a:lnSpc>
                <a:spcPct val="115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en-GB" sz="1800" b="1">
                <a:effectLst/>
                <a:latin typeface="Momo Neue"/>
                <a:ea typeface="Calibri" panose="020F0502020204030204" pitchFamily="34" charset="0"/>
                <a:cs typeface="Arial"/>
              </a:rPr>
              <a:t>Organization-wide BI/Analytics Dashboard (Experiential Intelligence Dashboard)</a:t>
            </a:r>
            <a:br>
              <a:rPr lang="en-GB" sz="1800" b="1">
                <a:effectLst/>
                <a:latin typeface="Momo Neue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en-GB" sz="1800">
                <a:effectLst/>
                <a:latin typeface="Momo Neue"/>
                <a:ea typeface="Yu Mincho"/>
                <a:cs typeface="Arial"/>
              </a:rPr>
              <a:t>An accessible and interactive web-hosted dashboard visualizing data from the data warehouse via KPIs and other metrics for Momentum and its clients.</a:t>
            </a:r>
          </a:p>
          <a:p>
            <a:pPr marL="342900" indent="-342900">
              <a:lnSpc>
                <a:spcPct val="115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en-GB" sz="1800" b="1">
                <a:effectLst/>
                <a:latin typeface="Momo Neue"/>
                <a:ea typeface="Yu Mincho"/>
                <a:cs typeface="Arial"/>
              </a:rPr>
              <a:t>Field Management System</a:t>
            </a:r>
            <a:br>
              <a:rPr lang="en-GB" sz="1800" b="1">
                <a:effectLst/>
                <a:latin typeface="Momo Neue"/>
                <a:ea typeface="Yu Mincho" panose="02020400000000000000" pitchFamily="18" charset="-128"/>
                <a:cs typeface="Arial" panose="020B0604020202020204" pitchFamily="34" charset="0"/>
              </a:rPr>
            </a:br>
            <a:r>
              <a:rPr lang="en-GB" sz="1800">
                <a:latin typeface="Momo Neue"/>
                <a:ea typeface="Yu Mincho"/>
                <a:cs typeface="Arial"/>
              </a:rPr>
              <a:t>A single solution for all field staff to access event information details, training materials and record event recaps. </a:t>
            </a:r>
          </a:p>
          <a:p>
            <a:pPr marL="342900" lvl="0" indent="-342900">
              <a:lnSpc>
                <a:spcPct val="115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en-GB" sz="1800" b="1">
                <a:latin typeface="Momo Neue"/>
                <a:cs typeface="Arial"/>
              </a:rPr>
              <a:t>Activation Calendar</a:t>
            </a:r>
            <a:br>
              <a:rPr lang="en-GB" sz="1800" b="1" i="1">
                <a:latin typeface="+mj-lt"/>
              </a:rPr>
            </a:br>
            <a:r>
              <a:rPr lang="en-GB" sz="1800">
                <a:latin typeface="Momo Neue"/>
                <a:ea typeface="Yu Mincho"/>
                <a:cs typeface="Arial"/>
              </a:rPr>
              <a:t>Enable visibility into the Momentum activation calendar. Who, what, when and where. </a:t>
            </a:r>
            <a:endParaRPr lang="en-GB" sz="1800">
              <a:latin typeface="Momo Neue"/>
              <a:ea typeface="Yu Mincho" panose="02020400000000000000" pitchFamily="18" charset="-128"/>
            </a:endParaRPr>
          </a:p>
          <a:p>
            <a:pPr marL="342900" indent="-342900">
              <a:lnSpc>
                <a:spcPct val="115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en-GB" sz="1800" b="1">
                <a:latin typeface="Momo Neue"/>
                <a:cs typeface="Arial"/>
              </a:rPr>
              <a:t>Conversational Insights</a:t>
            </a:r>
            <a:br>
              <a:rPr lang="en-GB" sz="1800" b="1" i="1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en-GB" sz="1800">
                <a:latin typeface="Momo Neue"/>
                <a:ea typeface="Yu Mincho"/>
                <a:cs typeface="Arial"/>
              </a:rPr>
              <a:t>Leveraging AI to provide conversational insights based on aggregated data. It would provide Momentum with a user-friendly interface to access data and gain valuable insights, though conversion. </a:t>
            </a:r>
            <a:endParaRPr lang="en-GB" sz="1800">
              <a:latin typeface="Momo Neue"/>
              <a:ea typeface="Yu Mincho" panose="02020400000000000000" pitchFamily="18" charset="-128"/>
            </a:endParaRPr>
          </a:p>
          <a:p>
            <a:pPr marL="342900" lvl="0" indent="-342900">
              <a:lnSpc>
                <a:spcPct val="115000"/>
              </a:lnSpc>
              <a:spcAft>
                <a:spcPts val="1000"/>
              </a:spcAft>
              <a:buFont typeface="+mj-lt"/>
              <a:buAutoNum type="arabicPeriod"/>
            </a:pPr>
            <a:endParaRPr lang="en-GB" sz="1800">
              <a:latin typeface="Calibri" panose="020F0502020204030204" pitchFamily="34" charset="0"/>
              <a:ea typeface="Yu Mincho" panose="02020400000000000000" pitchFamily="18" charset="-128"/>
            </a:endParaRPr>
          </a:p>
          <a:p>
            <a:pPr marL="342900" lvl="0" indent="-342900">
              <a:lnSpc>
                <a:spcPct val="115000"/>
              </a:lnSpc>
              <a:spcAft>
                <a:spcPts val="1000"/>
              </a:spcAft>
              <a:buFont typeface="+mj-lt"/>
              <a:buAutoNum type="arabicPeriod"/>
            </a:pPr>
            <a:endParaRPr lang="en-GB" sz="1800">
              <a:effectLst/>
              <a:latin typeface="Calibri" panose="020F0502020204030204" pitchFamily="34" charset="0"/>
              <a:ea typeface="Yu Mincho" panose="02020400000000000000" pitchFamily="18" charset="-128"/>
              <a:cs typeface="Arial" panose="020B0604020202020204" pitchFamily="34" charset="0"/>
            </a:endParaRPr>
          </a:p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C36522-A878-41B5-9D50-A913E22A4F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40075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Momentum Template Palette">
      <a:dk1>
        <a:srgbClr val="000000"/>
      </a:dk1>
      <a:lt1>
        <a:srgbClr val="FFFFFF"/>
      </a:lt1>
      <a:dk2>
        <a:srgbClr val="D4D8DC"/>
      </a:dk2>
      <a:lt2>
        <a:srgbClr val="79858D"/>
      </a:lt2>
      <a:accent1>
        <a:srgbClr val="EB2A38"/>
      </a:accent1>
      <a:accent2>
        <a:srgbClr val="495682"/>
      </a:accent2>
      <a:accent3>
        <a:srgbClr val="39708C"/>
      </a:accent3>
      <a:accent4>
        <a:srgbClr val="416042"/>
      </a:accent4>
      <a:accent5>
        <a:srgbClr val="FFD209"/>
      </a:accent5>
      <a:accent6>
        <a:srgbClr val="F26319"/>
      </a:accent6>
      <a:hlink>
        <a:srgbClr val="EB2A38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Momentum Template Palette">
      <a:dk1>
        <a:srgbClr val="000000"/>
      </a:dk1>
      <a:lt1>
        <a:srgbClr val="FFFFFF"/>
      </a:lt1>
      <a:dk2>
        <a:srgbClr val="D4D8DC"/>
      </a:dk2>
      <a:lt2>
        <a:srgbClr val="79858D"/>
      </a:lt2>
      <a:accent1>
        <a:srgbClr val="EB2A38"/>
      </a:accent1>
      <a:accent2>
        <a:srgbClr val="495682"/>
      </a:accent2>
      <a:accent3>
        <a:srgbClr val="39708C"/>
      </a:accent3>
      <a:accent4>
        <a:srgbClr val="416042"/>
      </a:accent4>
      <a:accent5>
        <a:srgbClr val="FFD209"/>
      </a:accent5>
      <a:accent6>
        <a:srgbClr val="F26319"/>
      </a:accent6>
      <a:hlink>
        <a:srgbClr val="EB2A38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LengthInSeconds xmlns="801b4607-f500-4f6e-b784-fb54d22359e9" xsi:nil="true"/>
    <Notes xmlns="801b4607-f500-4f6e-b784-fb54d22359e9" xsi:nil="true"/>
    <SharedWithUsers xmlns="05212364-6e0c-40a5-9fff-da248140089a">
      <UserInfo>
        <DisplayName>Sanderson, Steve (WW-MOM)</DisplayName>
        <AccountId>9</AccountId>
        <AccountType/>
      </UserInfo>
    </SharedWithUsers>
    <lcf76f155ced4ddcb4097134ff3c332f xmlns="801b4607-f500-4f6e-b784-fb54d22359e9">
      <Terms xmlns="http://schemas.microsoft.com/office/infopath/2007/PartnerControls"/>
    </lcf76f155ced4ddcb4097134ff3c332f>
    <TaxCatchAll xmlns="05212364-6e0c-40a5-9fff-da248140089a" xsi:nil="true"/>
    <AzureFiles xmlns="801b4607-f500-4f6e-b784-fb54d22359e9">
      <Url xsi:nil="true"/>
      <Description xsi:nil="true"/>
    </AzureFiles>
    <Tag xmlns="801b4607-f500-4f6e-b784-fb54d22359e9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C01503E242B4242B818938EF38676E9" ma:contentTypeVersion="21" ma:contentTypeDescription="Create a new document." ma:contentTypeScope="" ma:versionID="3a4297306f45b7232432285f2e4fc0a3">
  <xsd:schema xmlns:xsd="http://www.w3.org/2001/XMLSchema" xmlns:xs="http://www.w3.org/2001/XMLSchema" xmlns:p="http://schemas.microsoft.com/office/2006/metadata/properties" xmlns:ns2="801b4607-f500-4f6e-b784-fb54d22359e9" xmlns:ns3="05212364-6e0c-40a5-9fff-da248140089a" targetNamespace="http://schemas.microsoft.com/office/2006/metadata/properties" ma:root="true" ma:fieldsID="85f62882915f962eb2adfc659e2f43e6" ns2:_="" ns3:_="">
    <xsd:import namespace="801b4607-f500-4f6e-b784-fb54d22359e9"/>
    <xsd:import namespace="05212364-6e0c-40a5-9fff-da248140089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Notes" minOccurs="0"/>
                <xsd:element ref="ns2:MediaServiceSearchProperties" minOccurs="0"/>
                <xsd:element ref="ns2:AzureFiles" minOccurs="0"/>
                <xsd:element ref="ns2:MediaServiceBillingMetadata" minOccurs="0"/>
                <xsd:element ref="ns2:Tag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1b4607-f500-4f6e-b784-fb54d22359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3a7d435f-bc0a-452e-b7b2-4cb57826a06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Notes" ma:index="24" nillable="true" ma:displayName="Notes" ma:format="Dropdown" ma:internalName="Notes">
      <xsd:simpleType>
        <xsd:restriction base="dms:Note">
          <xsd:maxLength value="255"/>
        </xsd:restriction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AzureFiles" ma:index="26" nillable="true" ma:displayName="Azure Files" ma:format="Hyperlink" ma:internalName="AzureFiles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BillingMetadata" ma:index="27" nillable="true" ma:displayName="MediaServiceBillingMetadata" ma:hidden="true" ma:internalName="MediaServiceBillingMetadata" ma:readOnly="true">
      <xsd:simpleType>
        <xsd:restriction base="dms:Note"/>
      </xsd:simpleType>
    </xsd:element>
    <xsd:element name="Tag" ma:index="28" nillable="true" ma:displayName="Tag" ma:description="Tag to flag the recipient user against" ma:format="Dropdown" ma:internalName="Tag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5212364-6e0c-40a5-9fff-da248140089a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03010033-8c98-4658-a188-4535091bf398}" ma:internalName="TaxCatchAll" ma:showField="CatchAllData" ma:web="05212364-6e0c-40a5-9fff-da248140089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17AC6A7-248C-451F-8B8F-8D9DA924CCC7}">
  <ds:schemaRefs>
    <ds:schemaRef ds:uri="05212364-6e0c-40a5-9fff-da248140089a"/>
    <ds:schemaRef ds:uri="801b4607-f500-4f6e-b784-fb54d22359e9"/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215DACAF-E460-4203-A056-4A4968C14A7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D465F8E-CBD0-479F-A3D2-AB029BB8260A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2612</Words>
  <Application>Microsoft Office PowerPoint</Application>
  <PresentationFormat>Widescreen</PresentationFormat>
  <Paragraphs>405</Paragraphs>
  <Slides>33</Slides>
  <Notes>1</Notes>
  <HiddenSlides>11</HiddenSlides>
  <MMClips>0</MMClips>
  <ScaleCrop>false</ScaleCrop>
  <HeadingPairs>
    <vt:vector size="6" baseType="variant">
      <vt:variant>
        <vt:lpstr>Fonts Used</vt:lpstr>
      </vt:variant>
      <vt:variant>
        <vt:i4>12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33</vt:i4>
      </vt:variant>
    </vt:vector>
  </HeadingPairs>
  <TitlesOfParts>
    <vt:vector size="48" baseType="lpstr">
      <vt:lpstr>Arial</vt:lpstr>
      <vt:lpstr>Arial Black</vt:lpstr>
      <vt:lpstr>Calibri</vt:lpstr>
      <vt:lpstr>Calibri Light</vt:lpstr>
      <vt:lpstr>Momo Neue</vt:lpstr>
      <vt:lpstr>Open Sans</vt:lpstr>
      <vt:lpstr>Poppins</vt:lpstr>
      <vt:lpstr>Poppins Black</vt:lpstr>
      <vt:lpstr>Poppins Light</vt:lpstr>
      <vt:lpstr>Söhne</vt:lpstr>
      <vt:lpstr>Verizon NHG DS</vt:lpstr>
      <vt:lpstr>Verizon NHG TX</vt:lpstr>
      <vt:lpstr>office theme</vt:lpstr>
      <vt:lpstr>Office Theme</vt:lpstr>
      <vt:lpstr>Office Theme</vt:lpstr>
      <vt:lpstr>UNIFIED EXPERIENCE PLATFORM (UXP)</vt:lpstr>
      <vt:lpstr>AGENDA</vt:lpstr>
      <vt:lpstr>UNIFIED SYSTEMS &amp; DATA </vt:lpstr>
      <vt:lpstr>TODAY</vt:lpstr>
      <vt:lpstr>UNIFIED EXPERIENCE DATA ECOSYSTEM </vt:lpstr>
      <vt:lpstr>OUR GOALS / WHY UXP? </vt:lpstr>
      <vt:lpstr>OBJECTIVES </vt:lpstr>
      <vt:lpstr>PowerPoint Presentation</vt:lpstr>
      <vt:lpstr>KEY DELIVERABLES</vt:lpstr>
      <vt:lpstr>UNIFIED EXPERINCE BENEFITS</vt:lpstr>
      <vt:lpstr>FIELD MARKETING PLATFORM ANALYSIS</vt:lpstr>
      <vt:lpstr>GOAL</vt:lpstr>
      <vt:lpstr>KEY REQUIREMENTS</vt:lpstr>
      <vt:lpstr>FIELD MARKETING FEATURES</vt:lpstr>
      <vt:lpstr>FIELD MARKETING - COMPARISON</vt:lpstr>
      <vt:lpstr>COST COMPARISON </vt:lpstr>
      <vt:lpstr>NEXT STEPS</vt:lpstr>
      <vt:lpstr>NEXT STEPS</vt:lpstr>
      <vt:lpstr>THANK YOU</vt:lpstr>
      <vt:lpstr>APPENDIX</vt:lpstr>
      <vt:lpstr>NEAR TERM VS LONG TERM  FIELD MARKETING</vt:lpstr>
      <vt:lpstr>VERIZON X MOMO ORGANIZATIONAL DATA SYSTEM​</vt:lpstr>
      <vt:lpstr>UNIFIED DATA + FIELD MANAGEMENT What we need to get there (Components)</vt:lpstr>
      <vt:lpstr>LOOKING AHEAD</vt:lpstr>
      <vt:lpstr>LOOKING AHEAD: Beyond Unified Data Model</vt:lpstr>
      <vt:lpstr>NOW + NEXT</vt:lpstr>
      <vt:lpstr>POWER PLATFORM  PROOF OF CONCEPT</vt:lpstr>
      <vt:lpstr>CAMPAIGNS &amp; EVENTS</vt:lpstr>
      <vt:lpstr>CAMPAIGNS &amp; EVENTS</vt:lpstr>
      <vt:lpstr>POC - THEMES</vt:lpstr>
      <vt:lpstr>USER PERSONA</vt:lpstr>
      <vt:lpstr>OUR GOALS / WHY UXP? </vt:lpstr>
      <vt:lpstr>BENEFI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FIED EXPERIENCE PLATFORM (UXP)</dc:title>
  <dc:creator/>
  <cp:lastModifiedBy>Sanderson, Steve (WW-MOM)</cp:lastModifiedBy>
  <cp:revision>1</cp:revision>
  <dcterms:created xsi:type="dcterms:W3CDTF">2023-10-10T17:06:56Z</dcterms:created>
  <dcterms:modified xsi:type="dcterms:W3CDTF">2024-02-07T15:06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4C01503E242B4242B818938EF38676E9</vt:lpwstr>
  </property>
  <property fmtid="{D5CDD505-2E9C-101B-9397-08002B2CF9AE}" pid="4" name="ComplianceAssetId">
    <vt:lpwstr/>
  </property>
  <property fmtid="{D5CDD505-2E9C-101B-9397-08002B2CF9AE}" pid="5" name="_ExtendedDescription">
    <vt:lpwstr/>
  </property>
  <property fmtid="{D5CDD505-2E9C-101B-9397-08002B2CF9AE}" pid="6" name="TriggerFlowInfo">
    <vt:lpwstr/>
  </property>
</Properties>
</file>